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theme/theme2.xml" ContentType="application/vnd.openxmlformats-officedocument.them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notesSlides/notesSlide1.xml" ContentType="application/vnd.openxmlformats-officedocument.presentationml.notesSlide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notesSlides/notesSlide2.xml" ContentType="application/vnd.openxmlformats-officedocument.presentationml.notesSlide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notesSlides/notesSlide3.xml" ContentType="application/vnd.openxmlformats-officedocument.presentationml.notesSlide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notesSlides/notesSlide4.xml" ContentType="application/vnd.openxmlformats-officedocument.presentationml.notesSlide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notesSlides/notesSlide5.xml" ContentType="application/vnd.openxmlformats-officedocument.presentationml.notesSlide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notesSlides/notesSlide6.xml" ContentType="application/vnd.openxmlformats-officedocument.presentationml.notesSlide+xml"/>
  <Override PartName="/ppt/tags/tag606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15" r:id="rId1"/>
    <p:sldMasterId id="2147486496" r:id="rId2"/>
  </p:sldMasterIdLst>
  <p:notesMasterIdLst>
    <p:notesMasterId r:id="rId10"/>
  </p:notesMasterIdLst>
  <p:handoutMasterIdLst>
    <p:handoutMasterId r:id="rId11"/>
  </p:handoutMasterIdLst>
  <p:sldIdLst>
    <p:sldId id="1104" r:id="rId3"/>
    <p:sldId id="963" r:id="rId4"/>
    <p:sldId id="973" r:id="rId5"/>
    <p:sldId id="967" r:id="rId6"/>
    <p:sldId id="968" r:id="rId7"/>
    <p:sldId id="969" r:id="rId8"/>
    <p:sldId id="972" r:id="rId9"/>
  </p:sldIdLst>
  <p:sldSz cx="9144000" cy="6858000" type="screen4x3"/>
  <p:notesSz cx="7010400" cy="9296400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ick Cruz" initials="RC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E4E4E4"/>
    <a:srgbClr val="E8E8E8"/>
    <a:srgbClr val="00B0AC"/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144" autoAdjust="0"/>
    <p:restoredTop sz="92000" autoAdjust="0"/>
  </p:normalViewPr>
  <p:slideViewPr>
    <p:cSldViewPr>
      <p:cViewPr>
        <p:scale>
          <a:sx n="75" d="100"/>
          <a:sy n="75" d="100"/>
        </p:scale>
        <p:origin x="-2970" y="-7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-2586" y="-9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5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8145" cy="464205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734" y="1"/>
            <a:ext cx="3038145" cy="464205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r">
              <a:defRPr sz="1200"/>
            </a:lvl1pPr>
          </a:lstStyle>
          <a:p>
            <a:fld id="{307A4C25-6964-4BF2-BA20-3C7169463B5E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659"/>
            <a:ext cx="3038145" cy="464205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r">
              <a:defRPr sz="1200"/>
            </a:lvl1pPr>
          </a:lstStyle>
          <a:p>
            <a:fld id="{79D2FBB2-C16D-48F0-8BF6-AC51F7207D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2071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8145" cy="464205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734" y="1"/>
            <a:ext cx="3038145" cy="464205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r">
              <a:defRPr sz="1200"/>
            </a:lvl1pPr>
          </a:lstStyle>
          <a:p>
            <a:fld id="{04C111D7-87EF-4B94-A3BD-1A1E978D976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139" tIns="44070" rIns="88139" bIns="4407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345" y="4416099"/>
            <a:ext cx="5607711" cy="4182457"/>
          </a:xfrm>
          <a:prstGeom prst="rect">
            <a:avLst/>
          </a:prstGeom>
        </p:spPr>
        <p:txBody>
          <a:bodyPr vert="horz" lIns="88139" tIns="44070" rIns="88139" bIns="4407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0659"/>
            <a:ext cx="3038145" cy="464205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r">
              <a:defRPr sz="1200"/>
            </a:lvl1pPr>
          </a:lstStyle>
          <a:p>
            <a:fld id="{AF25456D-0D34-4444-86F0-D6F3302651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5966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25456D-0D34-4444-86F0-D6F33026512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166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25456D-0D34-4444-86F0-D6F33026512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247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25456D-0D34-4444-86F0-D6F33026512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4561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F66034-E80D-420C-8E02-F57C9934263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624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25456D-0D34-4444-86F0-D6F33026512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4381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25456D-0D34-4444-86F0-D6F33026512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5712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25456D-0D34-4444-86F0-D6F330265127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544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10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9.xml"/><Relationship Id="rId1" Type="http://schemas.openxmlformats.org/officeDocument/2006/relationships/vmlDrawing" Target="../drawings/vmlDrawing46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8.bin"/></Relationships>
</file>

<file path=ppt/slideLayouts/_rels/slideLayout10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0.xml"/><Relationship Id="rId1" Type="http://schemas.openxmlformats.org/officeDocument/2006/relationships/vmlDrawing" Target="../drawings/vmlDrawing46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9.bin"/></Relationships>
</file>

<file path=ppt/slideLayouts/_rels/slideLayout10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1.xml"/><Relationship Id="rId1" Type="http://schemas.openxmlformats.org/officeDocument/2006/relationships/vmlDrawing" Target="../drawings/vmlDrawing47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0.bin"/></Relationships>
</file>

<file path=ppt/slideLayouts/_rels/slideLayout10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10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2.xml"/><Relationship Id="rId1" Type="http://schemas.openxmlformats.org/officeDocument/2006/relationships/vmlDrawing" Target="../drawings/vmlDrawing47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1.bin"/></Relationships>
</file>

<file path=ppt/slideLayouts/_rels/slideLayout10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3.xml"/><Relationship Id="rId1" Type="http://schemas.openxmlformats.org/officeDocument/2006/relationships/vmlDrawing" Target="../drawings/vmlDrawing47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2.bin"/></Relationships>
</file>

<file path=ppt/slideLayouts/_rels/slideLayout10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4.xml"/><Relationship Id="rId1" Type="http://schemas.openxmlformats.org/officeDocument/2006/relationships/vmlDrawing" Target="../drawings/vmlDrawing47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3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10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5.xml"/><Relationship Id="rId1" Type="http://schemas.openxmlformats.org/officeDocument/2006/relationships/vmlDrawing" Target="../drawings/vmlDrawing47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4.bin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6.xml"/><Relationship Id="rId1" Type="http://schemas.openxmlformats.org/officeDocument/2006/relationships/vmlDrawing" Target="../drawings/vmlDrawing47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5.bin"/></Relationships>
</file>

<file path=ppt/slideLayouts/_rels/slideLayout10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7.xml"/><Relationship Id="rId1" Type="http://schemas.openxmlformats.org/officeDocument/2006/relationships/vmlDrawing" Target="../drawings/vmlDrawing47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6.bin"/></Relationships>
</file>

<file path=ppt/slideLayouts/_rels/slideLayout10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8.xml"/><Relationship Id="rId1" Type="http://schemas.openxmlformats.org/officeDocument/2006/relationships/vmlDrawing" Target="../drawings/vmlDrawing47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7.bin"/></Relationships>
</file>

<file path=ppt/slideLayouts/_rels/slideLayout10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9.xml"/><Relationship Id="rId1" Type="http://schemas.openxmlformats.org/officeDocument/2006/relationships/vmlDrawing" Target="../drawings/vmlDrawing47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8.bin"/></Relationships>
</file>

<file path=ppt/slideLayouts/_rels/slideLayout10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10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0.xml"/><Relationship Id="rId1" Type="http://schemas.openxmlformats.org/officeDocument/2006/relationships/vmlDrawing" Target="../drawings/vmlDrawing47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79.bin"/></Relationships>
</file>

<file path=ppt/slideLayouts/_rels/slideLayout10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10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jpeg"/></Relationships>
</file>

<file path=ppt/slideLayouts/_rels/slideLayout10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2.xml"/><Relationship Id="rId1" Type="http://schemas.openxmlformats.org/officeDocument/2006/relationships/vmlDrawing" Target="../drawings/vmlDrawing48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1.bin"/></Relationships>
</file>

<file path=ppt/slideLayouts/_rels/slideLayout10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3.xml"/><Relationship Id="rId1" Type="http://schemas.openxmlformats.org/officeDocument/2006/relationships/vmlDrawing" Target="../drawings/vmlDrawing48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2.bin"/></Relationships>
</file>

<file path=ppt/slideLayouts/_rels/slideLayout10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4.xml"/><Relationship Id="rId1" Type="http://schemas.openxmlformats.org/officeDocument/2006/relationships/vmlDrawing" Target="../drawings/vmlDrawing48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3.bin"/></Relationships>
</file>

<file path=ppt/slideLayouts/_rels/slideLayout10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5.xml"/><Relationship Id="rId1" Type="http://schemas.openxmlformats.org/officeDocument/2006/relationships/vmlDrawing" Target="../drawings/vmlDrawing48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4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10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10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10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0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6.xml"/><Relationship Id="rId1" Type="http://schemas.openxmlformats.org/officeDocument/2006/relationships/vmlDrawing" Target="../drawings/vmlDrawing48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5.bin"/></Relationships>
</file>

<file path=ppt/slideLayouts/_rels/slideLayout10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7.xml"/><Relationship Id="rId1" Type="http://schemas.openxmlformats.org/officeDocument/2006/relationships/vmlDrawing" Target="../drawings/vmlDrawing48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6.bin"/></Relationships>
</file>

<file path=ppt/slideLayouts/_rels/slideLayout10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8.xml"/><Relationship Id="rId1" Type="http://schemas.openxmlformats.org/officeDocument/2006/relationships/vmlDrawing" Target="../drawings/vmlDrawing48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7.bin"/></Relationships>
</file>

<file path=ppt/slideLayouts/_rels/slideLayout10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9.xml"/><Relationship Id="rId1" Type="http://schemas.openxmlformats.org/officeDocument/2006/relationships/vmlDrawing" Target="../drawings/vmlDrawing48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8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10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10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0.xml"/><Relationship Id="rId1" Type="http://schemas.openxmlformats.org/officeDocument/2006/relationships/vmlDrawing" Target="../drawings/vmlDrawing48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9.bin"/></Relationships>
</file>

<file path=ppt/slideLayouts/_rels/slideLayout10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1.xml"/><Relationship Id="rId1" Type="http://schemas.openxmlformats.org/officeDocument/2006/relationships/vmlDrawing" Target="../drawings/vmlDrawing49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0.bin"/></Relationships>
</file>

<file path=ppt/slideLayouts/_rels/slideLayout10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2.xml"/><Relationship Id="rId1" Type="http://schemas.openxmlformats.org/officeDocument/2006/relationships/vmlDrawing" Target="../drawings/vmlDrawing49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1.bin"/></Relationships>
</file>

<file path=ppt/slideLayouts/_rels/slideLayout10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3.xml"/><Relationship Id="rId1" Type="http://schemas.openxmlformats.org/officeDocument/2006/relationships/vmlDrawing" Target="../drawings/vmlDrawing49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2.bin"/></Relationships>
</file>

<file path=ppt/slideLayouts/_rels/slideLayout10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10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0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4.xml"/><Relationship Id="rId1" Type="http://schemas.openxmlformats.org/officeDocument/2006/relationships/vmlDrawing" Target="../drawings/vmlDrawing49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3.bin"/></Relationships>
</file>

<file path=ppt/slideLayouts/_rels/slideLayout10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5.xml"/><Relationship Id="rId1" Type="http://schemas.openxmlformats.org/officeDocument/2006/relationships/vmlDrawing" Target="../drawings/vmlDrawing49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4.bin"/></Relationships>
</file>

<file path=ppt/slideLayouts/_rels/slideLayout10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6.xml"/><Relationship Id="rId1" Type="http://schemas.openxmlformats.org/officeDocument/2006/relationships/vmlDrawing" Target="../drawings/vmlDrawing49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5.bin"/></Relationships>
</file>

<file path=ppt/slideLayouts/_rels/slideLayout10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7.xml"/><Relationship Id="rId1" Type="http://schemas.openxmlformats.org/officeDocument/2006/relationships/vmlDrawing" Target="../drawings/vmlDrawing49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6.bin"/></Relationships>
</file>

<file path=ppt/slideLayouts/_rels/slideLayout10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10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0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8.xml"/><Relationship Id="rId1" Type="http://schemas.openxmlformats.org/officeDocument/2006/relationships/vmlDrawing" Target="../drawings/vmlDrawing49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7.bin"/></Relationships>
</file>

<file path=ppt/slideLayouts/_rels/slideLayout10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9.xml"/><Relationship Id="rId1" Type="http://schemas.openxmlformats.org/officeDocument/2006/relationships/vmlDrawing" Target="../drawings/vmlDrawing49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8.bin"/></Relationships>
</file>

<file path=ppt/slideLayouts/_rels/slideLayout10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0.xml"/><Relationship Id="rId1" Type="http://schemas.openxmlformats.org/officeDocument/2006/relationships/vmlDrawing" Target="../drawings/vmlDrawing49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9.bin"/></Relationships>
</file>

<file path=ppt/slideLayouts/_rels/slideLayout10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1.xml"/><Relationship Id="rId1" Type="http://schemas.openxmlformats.org/officeDocument/2006/relationships/vmlDrawing" Target="../drawings/vmlDrawing50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0.bin"/></Relationships>
</file>

<file path=ppt/slideLayouts/_rels/slideLayout10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10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0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0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2.xml"/><Relationship Id="rId1" Type="http://schemas.openxmlformats.org/officeDocument/2006/relationships/vmlDrawing" Target="../drawings/vmlDrawing50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1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3.xml"/><Relationship Id="rId1" Type="http://schemas.openxmlformats.org/officeDocument/2006/relationships/vmlDrawing" Target="../drawings/vmlDrawing50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2.bin"/></Relationships>
</file>

<file path=ppt/slideLayouts/_rels/slideLayout10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4.xml"/><Relationship Id="rId1" Type="http://schemas.openxmlformats.org/officeDocument/2006/relationships/vmlDrawing" Target="../drawings/vmlDrawing50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3.bin"/></Relationships>
</file>

<file path=ppt/slideLayouts/_rels/slideLayout10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5.xml"/><Relationship Id="rId1" Type="http://schemas.openxmlformats.org/officeDocument/2006/relationships/vmlDrawing" Target="../drawings/vmlDrawing50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4.bin"/></Relationships>
</file>

<file path=ppt/slideLayouts/_rels/slideLayout10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0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6.xml"/><Relationship Id="rId1" Type="http://schemas.openxmlformats.org/officeDocument/2006/relationships/vmlDrawing" Target="../drawings/vmlDrawing50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05.bin"/></Relationships>
</file>

<file path=ppt/slideLayouts/_rels/slideLayout10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9.bin"/></Relationships>
</file>

<file path=ppt/slideLayouts/_rels/slideLayout10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0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0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0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0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0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7.xml"/><Relationship Id="rId1" Type="http://schemas.openxmlformats.org/officeDocument/2006/relationships/vmlDrawing" Target="../drawings/vmlDrawing50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6.bin"/></Relationships>
</file>

<file path=ppt/slideLayouts/_rels/slideLayout10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8.xml"/><Relationship Id="rId1" Type="http://schemas.openxmlformats.org/officeDocument/2006/relationships/vmlDrawing" Target="../drawings/vmlDrawing50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7.bin"/></Relationships>
</file>

<file path=ppt/slideLayouts/_rels/slideLayout10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9.xml"/><Relationship Id="rId1" Type="http://schemas.openxmlformats.org/officeDocument/2006/relationships/vmlDrawing" Target="../drawings/vmlDrawing50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8.bin"/></Relationships>
</file>

<file path=ppt/slideLayouts/_rels/slideLayout10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0.xml"/><Relationship Id="rId1" Type="http://schemas.openxmlformats.org/officeDocument/2006/relationships/vmlDrawing" Target="../drawings/vmlDrawing50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9.bin"/></Relationships>
</file>

<file path=ppt/slideLayouts/_rels/slideLayout10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1.xml"/><Relationship Id="rId1" Type="http://schemas.openxmlformats.org/officeDocument/2006/relationships/vmlDrawing" Target="../drawings/vmlDrawing51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10.bin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0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0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0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2.xml"/><Relationship Id="rId1" Type="http://schemas.openxmlformats.org/officeDocument/2006/relationships/vmlDrawing" Target="../drawings/vmlDrawing5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1.bin"/></Relationships>
</file>

<file path=ppt/slideLayouts/_rels/slideLayout1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3.xml"/><Relationship Id="rId1" Type="http://schemas.openxmlformats.org/officeDocument/2006/relationships/vmlDrawing" Target="../drawings/vmlDrawing5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2.bin"/></Relationships>
</file>

<file path=ppt/slideLayouts/_rels/slideLayout1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4.xml"/><Relationship Id="rId1" Type="http://schemas.openxmlformats.org/officeDocument/2006/relationships/vmlDrawing" Target="../drawings/vmlDrawing5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3.bin"/></Relationships>
</file>

<file path=ppt/slideLayouts/_rels/slideLayout1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5.xml"/><Relationship Id="rId1" Type="http://schemas.openxmlformats.org/officeDocument/2006/relationships/vmlDrawing" Target="../drawings/vmlDrawing5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4.bin"/></Relationships>
</file>

<file path=ppt/slideLayouts/_rels/slideLayout1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6.xml"/><Relationship Id="rId1" Type="http://schemas.openxmlformats.org/officeDocument/2006/relationships/vmlDrawing" Target="../drawings/vmlDrawing51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1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7.xml"/><Relationship Id="rId1" Type="http://schemas.openxmlformats.org/officeDocument/2006/relationships/vmlDrawing" Target="../drawings/vmlDrawing5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6.bin"/></Relationships>
</file>

<file path=ppt/slideLayouts/_rels/slideLayout1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8.xml"/><Relationship Id="rId1" Type="http://schemas.openxmlformats.org/officeDocument/2006/relationships/vmlDrawing" Target="../drawings/vmlDrawing5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7.bin"/></Relationships>
</file>

<file path=ppt/slideLayouts/_rels/slideLayout1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9.xml"/><Relationship Id="rId1" Type="http://schemas.openxmlformats.org/officeDocument/2006/relationships/vmlDrawing" Target="../drawings/vmlDrawing5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8.bin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0.xml"/><Relationship Id="rId1" Type="http://schemas.openxmlformats.org/officeDocument/2006/relationships/vmlDrawing" Target="../drawings/vmlDrawing5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9.bin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1.xml"/><Relationship Id="rId1" Type="http://schemas.openxmlformats.org/officeDocument/2006/relationships/vmlDrawing" Target="../drawings/vmlDrawing52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20.bin"/></Relationships>
</file>

<file path=ppt/slideLayouts/_rels/slideLayout1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2.xml"/><Relationship Id="rId1" Type="http://schemas.openxmlformats.org/officeDocument/2006/relationships/vmlDrawing" Target="../drawings/vmlDrawing5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1.bin"/></Relationships>
</file>

<file path=ppt/slideLayouts/_rels/slideLayout1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3.xml"/><Relationship Id="rId1" Type="http://schemas.openxmlformats.org/officeDocument/2006/relationships/vmlDrawing" Target="../drawings/vmlDrawing5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2.bin"/></Relationships>
</file>

<file path=ppt/slideLayouts/_rels/slideLayout1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4.xml"/><Relationship Id="rId1" Type="http://schemas.openxmlformats.org/officeDocument/2006/relationships/vmlDrawing" Target="../drawings/vmlDrawing5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3.bin"/></Relationships>
</file>

<file path=ppt/slideLayouts/_rels/slideLayout1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5.xml"/><Relationship Id="rId1" Type="http://schemas.openxmlformats.org/officeDocument/2006/relationships/vmlDrawing" Target="../drawings/vmlDrawing5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4.bin"/></Relationships>
</file>

<file path=ppt/slideLayouts/_rels/slideLayout1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6.xml"/><Relationship Id="rId1" Type="http://schemas.openxmlformats.org/officeDocument/2006/relationships/vmlDrawing" Target="../drawings/vmlDrawing52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25.bin"/></Relationships>
</file>

<file path=ppt/slideLayouts/_rels/slideLayout1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7.xml"/><Relationship Id="rId1" Type="http://schemas.openxmlformats.org/officeDocument/2006/relationships/vmlDrawing" Target="../drawings/vmlDrawing52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6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8.xml"/><Relationship Id="rId1" Type="http://schemas.openxmlformats.org/officeDocument/2006/relationships/vmlDrawing" Target="../drawings/vmlDrawing5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7.bin"/></Relationships>
</file>

<file path=ppt/slideLayouts/_rels/slideLayout1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9.xml"/><Relationship Id="rId1" Type="http://schemas.openxmlformats.org/officeDocument/2006/relationships/vmlDrawing" Target="../drawings/vmlDrawing5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8.bin"/></Relationships>
</file>

<file path=ppt/slideLayouts/_rels/slideLayout1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0.xml"/><Relationship Id="rId1" Type="http://schemas.openxmlformats.org/officeDocument/2006/relationships/vmlDrawing" Target="../drawings/vmlDrawing5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9.bin"/></Relationships>
</file>

<file path=ppt/slideLayouts/_rels/slideLayout1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1.xml"/><Relationship Id="rId1" Type="http://schemas.openxmlformats.org/officeDocument/2006/relationships/vmlDrawing" Target="../drawings/vmlDrawing53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30.bin"/></Relationships>
</file>

<file path=ppt/slideLayouts/_rels/slideLayout1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.bin"/></Relationships>
</file>

<file path=ppt/slideLayouts/_rels/slideLayout1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2.xml"/><Relationship Id="rId1" Type="http://schemas.openxmlformats.org/officeDocument/2006/relationships/vmlDrawing" Target="../drawings/vmlDrawing53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1.bin"/></Relationships>
</file>

<file path=ppt/slideLayouts/_rels/slideLayout1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3.xml"/><Relationship Id="rId1" Type="http://schemas.openxmlformats.org/officeDocument/2006/relationships/vmlDrawing" Target="../drawings/vmlDrawing53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2.bin"/></Relationships>
</file>

<file path=ppt/slideLayouts/_rels/slideLayout1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4.xml"/><Relationship Id="rId1" Type="http://schemas.openxmlformats.org/officeDocument/2006/relationships/vmlDrawing" Target="../drawings/vmlDrawing53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3.bin"/></Relationships>
</file>

<file path=ppt/slideLayouts/_rels/slideLayout1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5.xml"/><Relationship Id="rId1" Type="http://schemas.openxmlformats.org/officeDocument/2006/relationships/vmlDrawing" Target="../drawings/vmlDrawing53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4.bin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1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6.xml"/><Relationship Id="rId1" Type="http://schemas.openxmlformats.org/officeDocument/2006/relationships/vmlDrawing" Target="../drawings/vmlDrawing53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35.bin"/></Relationships>
</file>

<file path=ppt/slideLayouts/_rels/slideLayout1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/Relationships>
</file>

<file path=ppt/slideLayouts/_rels/slideLayout1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7.xml"/><Relationship Id="rId1" Type="http://schemas.openxmlformats.org/officeDocument/2006/relationships/vmlDrawing" Target="../drawings/vmlDrawing53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6.bin"/></Relationships>
</file>

<file path=ppt/slideLayouts/_rels/slideLayout1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8.xml"/><Relationship Id="rId1" Type="http://schemas.openxmlformats.org/officeDocument/2006/relationships/vmlDrawing" Target="../drawings/vmlDrawing53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7.bin"/></Relationships>
</file>

<file path=ppt/slideLayouts/_rels/slideLayout1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9.xml"/><Relationship Id="rId1" Type="http://schemas.openxmlformats.org/officeDocument/2006/relationships/vmlDrawing" Target="../drawings/vmlDrawing5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8.bin"/></Relationships>
</file>

<file path=ppt/slideLayouts/_rels/slideLayout1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0.xml"/><Relationship Id="rId1" Type="http://schemas.openxmlformats.org/officeDocument/2006/relationships/vmlDrawing" Target="../drawings/vmlDrawing53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9.bin"/></Relationships>
</file>

<file path=ppt/slideLayouts/_rels/slideLayout1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1.xml"/><Relationship Id="rId1" Type="http://schemas.openxmlformats.org/officeDocument/2006/relationships/vmlDrawing" Target="../drawings/vmlDrawing54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40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.bin"/></Relationships>
</file>

<file path=ppt/slideLayouts/_rels/slideLayout1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2.xml"/><Relationship Id="rId1" Type="http://schemas.openxmlformats.org/officeDocument/2006/relationships/vmlDrawing" Target="../drawings/vmlDrawing5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1.bin"/></Relationships>
</file>

<file path=ppt/slideLayouts/_rels/slideLayout1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3.xml"/><Relationship Id="rId1" Type="http://schemas.openxmlformats.org/officeDocument/2006/relationships/vmlDrawing" Target="../drawings/vmlDrawing5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2.bin"/></Relationships>
</file>

<file path=ppt/slideLayouts/_rels/slideLayout1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4.xml"/><Relationship Id="rId1" Type="http://schemas.openxmlformats.org/officeDocument/2006/relationships/vmlDrawing" Target="../drawings/vmlDrawing54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5.xml"/><Relationship Id="rId1" Type="http://schemas.openxmlformats.org/officeDocument/2006/relationships/vmlDrawing" Target="../drawings/vmlDrawing54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4.bin"/></Relationships>
</file>

<file path=ppt/slideLayouts/_rels/slideLayout1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6.xml"/><Relationship Id="rId1" Type="http://schemas.openxmlformats.org/officeDocument/2006/relationships/vmlDrawing" Target="../drawings/vmlDrawing54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45.bin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7.xml"/><Relationship Id="rId1" Type="http://schemas.openxmlformats.org/officeDocument/2006/relationships/vmlDrawing" Target="../drawings/vmlDrawing54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6.bin"/></Relationships>
</file>

<file path=ppt/slideLayouts/_rels/slideLayout1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8.xml"/><Relationship Id="rId1" Type="http://schemas.openxmlformats.org/officeDocument/2006/relationships/vmlDrawing" Target="../drawings/vmlDrawing54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7.bin"/></Relationships>
</file>

<file path=ppt/slideLayouts/_rels/slideLayout1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9.xml"/><Relationship Id="rId1" Type="http://schemas.openxmlformats.org/officeDocument/2006/relationships/vmlDrawing" Target="../drawings/vmlDrawing54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8.bin"/></Relationships>
</file>

<file path=ppt/slideLayouts/_rels/slideLayout1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0.xml"/><Relationship Id="rId1" Type="http://schemas.openxmlformats.org/officeDocument/2006/relationships/vmlDrawing" Target="../drawings/vmlDrawing54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9.bin"/></Relationships>
</file>

<file path=ppt/slideLayouts/_rels/slideLayout1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1.xml"/><Relationship Id="rId1" Type="http://schemas.openxmlformats.org/officeDocument/2006/relationships/vmlDrawing" Target="../drawings/vmlDrawing55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50.bin"/></Relationships>
</file>

<file path=ppt/slideLayouts/_rels/slideLayout1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2.xml"/><Relationship Id="rId1" Type="http://schemas.openxmlformats.org/officeDocument/2006/relationships/vmlDrawing" Target="../drawings/vmlDrawing55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1.bin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3.xml"/><Relationship Id="rId1" Type="http://schemas.openxmlformats.org/officeDocument/2006/relationships/vmlDrawing" Target="../drawings/vmlDrawing55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2.bin"/></Relationships>
</file>

<file path=ppt/slideLayouts/_rels/slideLayout1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4.xml"/><Relationship Id="rId1" Type="http://schemas.openxmlformats.org/officeDocument/2006/relationships/vmlDrawing" Target="../drawings/vmlDrawing55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3.bin"/></Relationships>
</file>

<file path=ppt/slideLayouts/_rels/slideLayout1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5.xml"/><Relationship Id="rId1" Type="http://schemas.openxmlformats.org/officeDocument/2006/relationships/vmlDrawing" Target="../drawings/vmlDrawing55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4.bin"/></Relationships>
</file>

<file path=ppt/slideLayouts/_rels/slideLayout1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6.xml"/><Relationship Id="rId1" Type="http://schemas.openxmlformats.org/officeDocument/2006/relationships/vmlDrawing" Target="../drawings/vmlDrawing55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55.bin"/></Relationships>
</file>

<file path=ppt/slideLayouts/_rels/slideLayout1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4.bin"/></Relationships>
</file>

<file path=ppt/slideLayouts/_rels/slideLayout1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7.xml"/><Relationship Id="rId1" Type="http://schemas.openxmlformats.org/officeDocument/2006/relationships/vmlDrawing" Target="../drawings/vmlDrawing55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6.bin"/></Relationships>
</file>

<file path=ppt/slideLayouts/_rels/slideLayout1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8.xml"/><Relationship Id="rId1" Type="http://schemas.openxmlformats.org/officeDocument/2006/relationships/vmlDrawing" Target="../drawings/vmlDrawing55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7.bin"/></Relationships>
</file>

<file path=ppt/slideLayouts/_rels/slideLayout1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9.xml"/><Relationship Id="rId1" Type="http://schemas.openxmlformats.org/officeDocument/2006/relationships/vmlDrawing" Target="../drawings/vmlDrawing55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8.bin"/></Relationships>
</file>

<file path=ppt/slideLayouts/_rels/slideLayout1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0.xml"/><Relationship Id="rId1" Type="http://schemas.openxmlformats.org/officeDocument/2006/relationships/vmlDrawing" Target="../drawings/vmlDrawing55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9.bin"/></Relationships>
</file>

<file path=ppt/slideLayouts/_rels/slideLayout1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1.xml"/><Relationship Id="rId1" Type="http://schemas.openxmlformats.org/officeDocument/2006/relationships/vmlDrawing" Target="../drawings/vmlDrawing56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60.bin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2.xml"/><Relationship Id="rId1" Type="http://schemas.openxmlformats.org/officeDocument/2006/relationships/vmlDrawing" Target="../drawings/vmlDrawing56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1.bin"/></Relationships>
</file>

<file path=ppt/slideLayouts/_rels/slideLayout1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3.xml"/><Relationship Id="rId1" Type="http://schemas.openxmlformats.org/officeDocument/2006/relationships/vmlDrawing" Target="../drawings/vmlDrawing56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2.bin"/></Relationships>
</file>

<file path=ppt/slideLayouts/_rels/slideLayout1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4.xml"/><Relationship Id="rId1" Type="http://schemas.openxmlformats.org/officeDocument/2006/relationships/vmlDrawing" Target="../drawings/vmlDrawing56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3.bin"/></Relationships>
</file>

<file path=ppt/slideLayouts/_rels/slideLayout1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5.xml"/><Relationship Id="rId1" Type="http://schemas.openxmlformats.org/officeDocument/2006/relationships/vmlDrawing" Target="../drawings/vmlDrawing56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4.bin"/></Relationships>
</file>

<file path=ppt/slideLayouts/_rels/slideLayout1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6.xml"/><Relationship Id="rId1" Type="http://schemas.openxmlformats.org/officeDocument/2006/relationships/vmlDrawing" Target="../drawings/vmlDrawing56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65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7.xml"/><Relationship Id="rId1" Type="http://schemas.openxmlformats.org/officeDocument/2006/relationships/vmlDrawing" Target="../drawings/vmlDrawing56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6.bin"/></Relationships>
</file>

<file path=ppt/slideLayouts/_rels/slideLayout1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8.xml"/><Relationship Id="rId1" Type="http://schemas.openxmlformats.org/officeDocument/2006/relationships/vmlDrawing" Target="../drawings/vmlDrawing56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7.bin"/></Relationships>
</file>

<file path=ppt/slideLayouts/_rels/slideLayout1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9.xml"/><Relationship Id="rId1" Type="http://schemas.openxmlformats.org/officeDocument/2006/relationships/vmlDrawing" Target="../drawings/vmlDrawing56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8.bin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0.xml"/><Relationship Id="rId1" Type="http://schemas.openxmlformats.org/officeDocument/2006/relationships/vmlDrawing" Target="../drawings/vmlDrawing56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9.bin"/></Relationships>
</file>

<file path=ppt/slideLayouts/_rels/slideLayout1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1.xml"/><Relationship Id="rId1" Type="http://schemas.openxmlformats.org/officeDocument/2006/relationships/vmlDrawing" Target="../drawings/vmlDrawing57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70.bin"/></Relationships>
</file>

<file path=ppt/slideLayouts/_rels/slideLayout1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2.xml"/><Relationship Id="rId1" Type="http://schemas.openxmlformats.org/officeDocument/2006/relationships/vmlDrawing" Target="../drawings/vmlDrawing57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1.bin"/></Relationships>
</file>

<file path=ppt/slideLayouts/_rels/slideLayout1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3.xml"/><Relationship Id="rId1" Type="http://schemas.openxmlformats.org/officeDocument/2006/relationships/vmlDrawing" Target="../drawings/vmlDrawing57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2.bin"/></Relationships>
</file>

<file path=ppt/slideLayouts/_rels/slideLayout1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4.xml"/><Relationship Id="rId1" Type="http://schemas.openxmlformats.org/officeDocument/2006/relationships/vmlDrawing" Target="../drawings/vmlDrawing57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3.bin"/></Relationships>
</file>

<file path=ppt/slideLayouts/_rels/slideLayout1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5.xml"/><Relationship Id="rId1" Type="http://schemas.openxmlformats.org/officeDocument/2006/relationships/vmlDrawing" Target="../drawings/vmlDrawing57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4.bin"/></Relationships>
</file>

<file path=ppt/slideLayouts/_rels/slideLayout1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6.xml"/><Relationship Id="rId1" Type="http://schemas.openxmlformats.org/officeDocument/2006/relationships/vmlDrawing" Target="../drawings/vmlDrawing57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75.bin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7.xml"/><Relationship Id="rId1" Type="http://schemas.openxmlformats.org/officeDocument/2006/relationships/vmlDrawing" Target="../drawings/vmlDrawing57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6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8.xml"/><Relationship Id="rId1" Type="http://schemas.openxmlformats.org/officeDocument/2006/relationships/vmlDrawing" Target="../drawings/vmlDrawing57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7.bin"/></Relationships>
</file>

<file path=ppt/slideLayouts/_rels/slideLayout1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9.xml"/><Relationship Id="rId1" Type="http://schemas.openxmlformats.org/officeDocument/2006/relationships/vmlDrawing" Target="../drawings/vmlDrawing57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8.bin"/></Relationships>
</file>

<file path=ppt/slideLayouts/_rels/slideLayout1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0.xml"/><Relationship Id="rId1" Type="http://schemas.openxmlformats.org/officeDocument/2006/relationships/vmlDrawing" Target="../drawings/vmlDrawing57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9.bin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1.xml"/><Relationship Id="rId1" Type="http://schemas.openxmlformats.org/officeDocument/2006/relationships/vmlDrawing" Target="../drawings/vmlDrawing58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80.bin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1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9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0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1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2.bin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5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6.bin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1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2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3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4.bin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5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6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7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8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9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0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1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2.bin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3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4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5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7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9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0.bin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1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2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3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4.bin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5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6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7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8.bin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9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1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2.bin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3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4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5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7.bin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8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9.bin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0.bin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1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2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3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4.bin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5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6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7.bin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8.bin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9.bin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1.bin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2.bin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3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4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5.bin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7.bin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8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9.bin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0.bin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microsoft.com/office/2007/relationships/hdphoto" Target="../media/hdphoto3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12" Type="http://schemas.openxmlformats.org/officeDocument/2006/relationships/image" Target="../media/image12.jpeg"/><Relationship Id="rId17" Type="http://schemas.microsoft.com/office/2007/relationships/hdphoto" Target="../media/hdphoto5.wdp"/><Relationship Id="rId2" Type="http://schemas.openxmlformats.org/officeDocument/2006/relationships/tags" Target="../tags/tag15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jpeg"/><Relationship Id="rId11" Type="http://schemas.microsoft.com/office/2007/relationships/hdphoto" Target="../media/hdphoto2.wdp"/><Relationship Id="rId5" Type="http://schemas.openxmlformats.org/officeDocument/2006/relationships/image" Target="../media/image9.emf"/><Relationship Id="rId15" Type="http://schemas.microsoft.com/office/2007/relationships/hdphoto" Target="../media/hdphoto4.wdp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14.bin"/><Relationship Id="rId9" Type="http://schemas.microsoft.com/office/2007/relationships/hdphoto" Target="../media/hdphoto1.wdp"/><Relationship Id="rId14" Type="http://schemas.openxmlformats.org/officeDocument/2006/relationships/image" Target="../media/image13.jpeg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1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2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3.bin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4.bin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5.bin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6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7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8.bin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9.bin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0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1.bin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2.bin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3.bin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4.bin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5.bin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6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7.bin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8.bin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9.bin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0.bin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1.bin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2.bin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3.bin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4.bin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5.bin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6.bin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7.bin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8.bin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9.bin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1.bin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2.bin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3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4.bin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5.bin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7.bin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8.bin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9.bin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6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0.bin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1.bin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2.bin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3.bin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4.bin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16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5.bin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6.bin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7.bin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8.bin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6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9.bin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7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1.bin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2.bin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3.bin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4.bin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7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5.bin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7.bin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8.bin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7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9.bin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8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0.bin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1.bin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2.bin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3.bin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4.bin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5.bin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6.bin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7.bin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8.bin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8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9.bin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9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0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1.bin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2.bin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3.bin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9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4.bin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9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5.bin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9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6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9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7.bin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8.bin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9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9.bin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20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0.bin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20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1.bin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0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2.bin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20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3.bin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4.bin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20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5.bin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20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6.bin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20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7.bin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8.bin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20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9.bin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2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0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2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1.bin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2.bin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2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3.bin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2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4.bin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2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5.bin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6.bin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2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7.bin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8.bin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2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9.bin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0.bin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2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1.bin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2.bin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2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3.bin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2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4.bin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2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5.bin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2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6.bin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2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7.bin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8.bin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2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9.bin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23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0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23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1.bin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3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2.bin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23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3.bin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3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4.bin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23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5.bin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23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6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23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7.bin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2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8.bin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23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9.bin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24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0.bin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2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1.bin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2.bin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24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3.bin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24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4.bin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24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5.bin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24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6.bin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24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7.bin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24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8.bin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24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9.bin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25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0.bin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25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1.bin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25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2.bin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25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3.bin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25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4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25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5.bin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25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6.bin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25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7.bin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25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8.bin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25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9.bin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26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26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1.bin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26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2.bin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26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3.bin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26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4.bin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26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5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26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6.bin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26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7.bin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26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8.bin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26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9.bin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27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0.bin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27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27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2.bin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27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3.bin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27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4.bin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27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5.bin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27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6.bin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27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7.bin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27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8.bin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27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9.bin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28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0.bin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28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1.bin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28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2.bin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28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3.bin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28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4.bin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28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28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6.bin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28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7.bin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28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8.bin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28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9.bin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29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0.bin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2.xml"/><Relationship Id="rId1" Type="http://schemas.openxmlformats.org/officeDocument/2006/relationships/vmlDrawing" Target="../drawings/vmlDrawing29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1.bin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3.xml"/><Relationship Id="rId1" Type="http://schemas.openxmlformats.org/officeDocument/2006/relationships/vmlDrawing" Target="../drawings/vmlDrawing29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2.bin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29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3.bin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29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4.bin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29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5.bin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29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6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29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7.bin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29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8.bin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29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9.bin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30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0.bin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30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1.bin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30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2.bin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30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3.bin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30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4.bin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30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5.bin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30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6.bin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30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7.bin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30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8.bin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30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9.bin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3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0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3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1.bin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3.xml"/><Relationship Id="rId1" Type="http://schemas.openxmlformats.org/officeDocument/2006/relationships/vmlDrawing" Target="../drawings/vmlDrawing3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2.bin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6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3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3.bin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3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4.bin"/></Relationships>
</file>

<file path=ppt/slideLayouts/_rels/slideLayout6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3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5.bin"/></Relationships>
</file>

<file path=ppt/slideLayouts/_rels/slideLayout6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3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3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7.bin"/></Relationships>
</file>

<file path=ppt/slideLayouts/_rels/slideLayout6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3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8.bin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3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9.bin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3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0.bin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3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1.bin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3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2.bin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3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3.bin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3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4.bin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.bin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3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5.bin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32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6.bin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8.xml"/><Relationship Id="rId1" Type="http://schemas.openxmlformats.org/officeDocument/2006/relationships/vmlDrawing" Target="../drawings/vmlDrawing3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7.bin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3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8.bin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3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9.bin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33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0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2.xml"/><Relationship Id="rId1" Type="http://schemas.openxmlformats.org/officeDocument/2006/relationships/vmlDrawing" Target="../drawings/vmlDrawing33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1.bin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33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2.bin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33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3.bin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33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4.bin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33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5.bin"/></Relationships>
</file>

<file path=ppt/slideLayouts/_rels/slideLayout7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7.xml"/><Relationship Id="rId1" Type="http://schemas.openxmlformats.org/officeDocument/2006/relationships/vmlDrawing" Target="../drawings/vmlDrawing33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7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8.xml"/><Relationship Id="rId1" Type="http://schemas.openxmlformats.org/officeDocument/2006/relationships/vmlDrawing" Target="../drawings/vmlDrawing33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7.bin"/></Relationships>
</file>

<file path=ppt/slideLayouts/_rels/slideLayout7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9.xml"/><Relationship Id="rId1" Type="http://schemas.openxmlformats.org/officeDocument/2006/relationships/vmlDrawing" Target="../drawings/vmlDrawing3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8.bin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33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9.bin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34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0.bin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3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1.bin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3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2.bin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4.xml"/><Relationship Id="rId1" Type="http://schemas.openxmlformats.org/officeDocument/2006/relationships/vmlDrawing" Target="../drawings/vmlDrawing34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3.bin"/></Relationships>
</file>

<file path=ppt/slideLayouts/_rels/slideLayout7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5.xml"/><Relationship Id="rId1" Type="http://schemas.openxmlformats.org/officeDocument/2006/relationships/vmlDrawing" Target="../drawings/vmlDrawing34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4.bin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7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4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5.bin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7.xml"/><Relationship Id="rId1" Type="http://schemas.openxmlformats.org/officeDocument/2006/relationships/vmlDrawing" Target="../drawings/vmlDrawing34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6.bin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8.xml"/><Relationship Id="rId1" Type="http://schemas.openxmlformats.org/officeDocument/2006/relationships/vmlDrawing" Target="../drawings/vmlDrawing34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7.bin"/></Relationships>
</file>

<file path=ppt/slideLayouts/_rels/slideLayout7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34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8.bin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0.xml"/><Relationship Id="rId1" Type="http://schemas.openxmlformats.org/officeDocument/2006/relationships/vmlDrawing" Target="../drawings/vmlDrawing34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9.bin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1.xml"/><Relationship Id="rId1" Type="http://schemas.openxmlformats.org/officeDocument/2006/relationships/vmlDrawing" Target="../drawings/vmlDrawing35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0.bin"/></Relationships>
</file>

<file path=ppt/slideLayouts/_rels/slideLayout7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2.xml"/><Relationship Id="rId1" Type="http://schemas.openxmlformats.org/officeDocument/2006/relationships/vmlDrawing" Target="../drawings/vmlDrawing35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1.bin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35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2.bin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7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4.xml"/><Relationship Id="rId1" Type="http://schemas.openxmlformats.org/officeDocument/2006/relationships/vmlDrawing" Target="../drawings/vmlDrawing35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3.bin"/></Relationships>
</file>

<file path=ppt/slideLayouts/_rels/slideLayout7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35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4.bin"/></Relationships>
</file>

<file path=ppt/slideLayouts/_rels/slideLayout7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35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5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35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6.bin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35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7.bin"/></Relationships>
</file>

<file path=ppt/slideLayouts/_rels/slideLayout7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35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8.bin"/></Relationships>
</file>

<file path=ppt/slideLayouts/_rels/slideLayout7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0.xml"/><Relationship Id="rId1" Type="http://schemas.openxmlformats.org/officeDocument/2006/relationships/vmlDrawing" Target="../drawings/vmlDrawing35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9.bin"/></Relationships>
</file>

<file path=ppt/slideLayouts/_rels/slideLayout7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36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0.bin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7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36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1.bin"/></Relationships>
</file>

<file path=ppt/slideLayouts/_rels/slideLayout7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36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2.bin"/></Relationships>
</file>

<file path=ppt/slideLayouts/_rels/slideLayout7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36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3.bin"/></Relationships>
</file>

<file path=ppt/slideLayouts/_rels/slideLayout7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36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4.bin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36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5.bin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36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6.bin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36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7.bin"/></Relationships>
</file>

<file path=ppt/slideLayouts/_rels/slideLayout7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9.xml"/><Relationship Id="rId1" Type="http://schemas.openxmlformats.org/officeDocument/2006/relationships/vmlDrawing" Target="../drawings/vmlDrawing36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8.bin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0.xml"/><Relationship Id="rId1" Type="http://schemas.openxmlformats.org/officeDocument/2006/relationships/vmlDrawing" Target="../drawings/vmlDrawing36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6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1.xml"/><Relationship Id="rId1" Type="http://schemas.openxmlformats.org/officeDocument/2006/relationships/vmlDrawing" Target="../drawings/vmlDrawing37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0.bin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2.xml"/><Relationship Id="rId1" Type="http://schemas.openxmlformats.org/officeDocument/2006/relationships/vmlDrawing" Target="../drawings/vmlDrawing37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1.bin"/></Relationships>
</file>

<file path=ppt/slideLayouts/_rels/slideLayout8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37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2.bin"/></Relationships>
</file>

<file path=ppt/slideLayouts/_rels/slideLayout8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4.xml"/><Relationship Id="rId1" Type="http://schemas.openxmlformats.org/officeDocument/2006/relationships/vmlDrawing" Target="../drawings/vmlDrawing37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3.bin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5.xml"/><Relationship Id="rId1" Type="http://schemas.openxmlformats.org/officeDocument/2006/relationships/vmlDrawing" Target="../drawings/vmlDrawing37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74.bin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6.xml"/><Relationship Id="rId1" Type="http://schemas.openxmlformats.org/officeDocument/2006/relationships/vmlDrawing" Target="../drawings/vmlDrawing37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5.bin"/></Relationships>
</file>

<file path=ppt/slideLayouts/_rels/slideLayout8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37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6.bin"/></Relationships>
</file>

<file path=ppt/slideLayouts/_rels/slideLayout8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8.xml"/><Relationship Id="rId1" Type="http://schemas.openxmlformats.org/officeDocument/2006/relationships/vmlDrawing" Target="../drawings/vmlDrawing37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7.bin"/></Relationships>
</file>

<file path=ppt/slideLayouts/_rels/slideLayout8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9.xml"/><Relationship Id="rId1" Type="http://schemas.openxmlformats.org/officeDocument/2006/relationships/vmlDrawing" Target="../drawings/vmlDrawing37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8.bin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8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0.xml"/><Relationship Id="rId1" Type="http://schemas.openxmlformats.org/officeDocument/2006/relationships/vmlDrawing" Target="../drawings/vmlDrawing37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9.bin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1.xml"/><Relationship Id="rId1" Type="http://schemas.openxmlformats.org/officeDocument/2006/relationships/vmlDrawing" Target="../drawings/vmlDrawing38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0.bin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38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1.bin"/></Relationships>
</file>

<file path=ppt/slideLayouts/_rels/slideLayout8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38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2.bin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8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8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38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3.bin"/></Relationships>
</file>

<file path=ppt/slideLayouts/_rels/slideLayout8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5.xml"/><Relationship Id="rId1" Type="http://schemas.openxmlformats.org/officeDocument/2006/relationships/vmlDrawing" Target="../drawings/vmlDrawing38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4.bin"/></Relationships>
</file>

<file path=ppt/slideLayouts/_rels/slideLayout8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6.xml"/><Relationship Id="rId1" Type="http://schemas.openxmlformats.org/officeDocument/2006/relationships/vmlDrawing" Target="../drawings/vmlDrawing38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5.bin"/></Relationships>
</file>

<file path=ppt/slideLayouts/_rels/slideLayout8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7.xml"/><Relationship Id="rId1" Type="http://schemas.openxmlformats.org/officeDocument/2006/relationships/vmlDrawing" Target="../drawings/vmlDrawing38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6.bin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8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8.xml"/><Relationship Id="rId1" Type="http://schemas.openxmlformats.org/officeDocument/2006/relationships/vmlDrawing" Target="../drawings/vmlDrawing38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8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9.xml"/><Relationship Id="rId1" Type="http://schemas.openxmlformats.org/officeDocument/2006/relationships/vmlDrawing" Target="../drawings/vmlDrawing38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8.bin"/></Relationships>
</file>

<file path=ppt/slideLayouts/_rels/slideLayout8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0.xml"/><Relationship Id="rId1" Type="http://schemas.openxmlformats.org/officeDocument/2006/relationships/vmlDrawing" Target="../drawings/vmlDrawing38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9.bin"/></Relationships>
</file>

<file path=ppt/slideLayouts/_rels/slideLayout8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1.xml"/><Relationship Id="rId1" Type="http://schemas.openxmlformats.org/officeDocument/2006/relationships/vmlDrawing" Target="../drawings/vmlDrawing39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0.bin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8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39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1.bin"/></Relationships>
</file>

<file path=ppt/slideLayouts/_rels/slideLayout8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39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2.bin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4.xml"/><Relationship Id="rId1" Type="http://schemas.openxmlformats.org/officeDocument/2006/relationships/vmlDrawing" Target="../drawings/vmlDrawing39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3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8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5.xml"/><Relationship Id="rId1" Type="http://schemas.openxmlformats.org/officeDocument/2006/relationships/vmlDrawing" Target="../drawings/vmlDrawing39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4.bin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8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39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5.bin"/></Relationships>
</file>

<file path=ppt/slideLayouts/_rels/slideLayout8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7.xml"/><Relationship Id="rId1" Type="http://schemas.openxmlformats.org/officeDocument/2006/relationships/vmlDrawing" Target="../drawings/vmlDrawing39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6.bin"/></Relationships>
</file>

<file path=ppt/slideLayouts/_rels/slideLayout8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8.xml"/><Relationship Id="rId1" Type="http://schemas.openxmlformats.org/officeDocument/2006/relationships/vmlDrawing" Target="../drawings/vmlDrawing39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7.bin"/></Relationships>
</file>

<file path=ppt/slideLayouts/_rels/slideLayout8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9.xml"/><Relationship Id="rId1" Type="http://schemas.openxmlformats.org/officeDocument/2006/relationships/vmlDrawing" Target="../drawings/vmlDrawing39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8.bin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0.xml"/><Relationship Id="rId1" Type="http://schemas.openxmlformats.org/officeDocument/2006/relationships/vmlDrawing" Target="../drawings/vmlDrawing39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99.bin"/></Relationships>
</file>

<file path=ppt/slideLayouts/_rels/slideLayout8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1.xml"/><Relationship Id="rId1" Type="http://schemas.openxmlformats.org/officeDocument/2006/relationships/vmlDrawing" Target="../drawings/vmlDrawing40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0.bin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40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1.bin"/></Relationships>
</file>

<file path=ppt/slideLayouts/_rels/slideLayout8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40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2.bin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8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8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40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3.bin"/></Relationships>
</file>

<file path=ppt/slideLayouts/_rels/slideLayout8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5.xml"/><Relationship Id="rId1" Type="http://schemas.openxmlformats.org/officeDocument/2006/relationships/vmlDrawing" Target="../drawings/vmlDrawing40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4.bin"/></Relationships>
</file>

<file path=ppt/slideLayouts/_rels/slideLayout8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6.xml"/><Relationship Id="rId1" Type="http://schemas.openxmlformats.org/officeDocument/2006/relationships/vmlDrawing" Target="../drawings/vmlDrawing40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5.bin"/></Relationships>
</file>

<file path=ppt/slideLayouts/_rels/slideLayout8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7.xml"/><Relationship Id="rId1" Type="http://schemas.openxmlformats.org/officeDocument/2006/relationships/vmlDrawing" Target="../drawings/vmlDrawing40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6.bin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8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8.xml"/><Relationship Id="rId1" Type="http://schemas.openxmlformats.org/officeDocument/2006/relationships/vmlDrawing" Target="../drawings/vmlDrawing40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7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9.xml"/><Relationship Id="rId1" Type="http://schemas.openxmlformats.org/officeDocument/2006/relationships/vmlDrawing" Target="../drawings/vmlDrawing40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8.bin"/></Relationships>
</file>

<file path=ppt/slideLayouts/_rels/slideLayout8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0.xml"/><Relationship Id="rId1" Type="http://schemas.openxmlformats.org/officeDocument/2006/relationships/vmlDrawing" Target="../drawings/vmlDrawing40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09.bin"/></Relationships>
</file>

<file path=ppt/slideLayouts/_rels/slideLayout8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1.xml"/><Relationship Id="rId1" Type="http://schemas.openxmlformats.org/officeDocument/2006/relationships/vmlDrawing" Target="../drawings/vmlDrawing4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0.bin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8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2.xml"/><Relationship Id="rId1" Type="http://schemas.openxmlformats.org/officeDocument/2006/relationships/vmlDrawing" Target="../drawings/vmlDrawing4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1.bin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3.xml"/><Relationship Id="rId1" Type="http://schemas.openxmlformats.org/officeDocument/2006/relationships/vmlDrawing" Target="../drawings/vmlDrawing4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2.bin"/></Relationships>
</file>

<file path=ppt/slideLayouts/_rels/slideLayout8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4.xml"/><Relationship Id="rId1" Type="http://schemas.openxmlformats.org/officeDocument/2006/relationships/vmlDrawing" Target="../drawings/vmlDrawing4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3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5.xml"/><Relationship Id="rId1" Type="http://schemas.openxmlformats.org/officeDocument/2006/relationships/vmlDrawing" Target="../drawings/vmlDrawing4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4.bin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8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6.xml"/><Relationship Id="rId1" Type="http://schemas.openxmlformats.org/officeDocument/2006/relationships/vmlDrawing" Target="../drawings/vmlDrawing4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5.bin"/></Relationships>
</file>

<file path=ppt/slideLayouts/_rels/slideLayout8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7.xml"/><Relationship Id="rId1" Type="http://schemas.openxmlformats.org/officeDocument/2006/relationships/vmlDrawing" Target="../drawings/vmlDrawing4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6.bin"/></Relationships>
</file>

<file path=ppt/slideLayouts/_rels/slideLayout8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8.xml"/><Relationship Id="rId1" Type="http://schemas.openxmlformats.org/officeDocument/2006/relationships/vmlDrawing" Target="../drawings/vmlDrawing4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7.bin"/></Relationships>
</file>

<file path=ppt/slideLayouts/_rels/slideLayout8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9.xml"/><Relationship Id="rId1" Type="http://schemas.openxmlformats.org/officeDocument/2006/relationships/vmlDrawing" Target="../drawings/vmlDrawing4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8.bin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9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0.xml"/><Relationship Id="rId1" Type="http://schemas.openxmlformats.org/officeDocument/2006/relationships/vmlDrawing" Target="../drawings/vmlDrawing4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9.bin"/></Relationships>
</file>

<file path=ppt/slideLayouts/_rels/slideLayout9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1.xml"/><Relationship Id="rId1" Type="http://schemas.openxmlformats.org/officeDocument/2006/relationships/vmlDrawing" Target="../drawings/vmlDrawing4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0.bin"/></Relationships>
</file>

<file path=ppt/slideLayouts/_rels/slideLayout9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2.xml"/><Relationship Id="rId1" Type="http://schemas.openxmlformats.org/officeDocument/2006/relationships/vmlDrawing" Target="../drawings/vmlDrawing4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1.bin"/></Relationships>
</file>

<file path=ppt/slideLayouts/_rels/slideLayout9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3.xml"/><Relationship Id="rId1" Type="http://schemas.openxmlformats.org/officeDocument/2006/relationships/vmlDrawing" Target="../drawings/vmlDrawing4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2.bin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9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4.xml"/><Relationship Id="rId1" Type="http://schemas.openxmlformats.org/officeDocument/2006/relationships/vmlDrawing" Target="../drawings/vmlDrawing4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3.bin"/></Relationships>
</file>

<file path=ppt/slideLayouts/_rels/slideLayout9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5.xml"/><Relationship Id="rId1" Type="http://schemas.openxmlformats.org/officeDocument/2006/relationships/vmlDrawing" Target="../drawings/vmlDrawing4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4.bin"/></Relationships>
</file>

<file path=ppt/slideLayouts/_rels/slideLayout9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6.xml"/><Relationship Id="rId1" Type="http://schemas.openxmlformats.org/officeDocument/2006/relationships/vmlDrawing" Target="../drawings/vmlDrawing4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5.bin"/></Relationships>
</file>

<file path=ppt/slideLayouts/_rels/slideLayout9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7.xml"/><Relationship Id="rId1" Type="http://schemas.openxmlformats.org/officeDocument/2006/relationships/vmlDrawing" Target="../drawings/vmlDrawing42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6.bin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9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8.xml"/><Relationship Id="rId1" Type="http://schemas.openxmlformats.org/officeDocument/2006/relationships/vmlDrawing" Target="../drawings/vmlDrawing4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4.bin"/></Relationships>
</file>

<file path=ppt/slideLayouts/_rels/slideLayout9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9.xml"/><Relationship Id="rId1" Type="http://schemas.openxmlformats.org/officeDocument/2006/relationships/vmlDrawing" Target="../drawings/vmlDrawing4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8.bin"/></Relationships>
</file>

<file path=ppt/slideLayouts/_rels/slideLayout9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0.xml"/><Relationship Id="rId1" Type="http://schemas.openxmlformats.org/officeDocument/2006/relationships/vmlDrawing" Target="../drawings/vmlDrawing4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9.bin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1.xml"/><Relationship Id="rId1" Type="http://schemas.openxmlformats.org/officeDocument/2006/relationships/vmlDrawing" Target="../drawings/vmlDrawing43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0.bin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9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2.xml"/><Relationship Id="rId1" Type="http://schemas.openxmlformats.org/officeDocument/2006/relationships/vmlDrawing" Target="../drawings/vmlDrawing43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1.bin"/></Relationships>
</file>

<file path=ppt/slideLayouts/_rels/slideLayout9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3.xml"/><Relationship Id="rId1" Type="http://schemas.openxmlformats.org/officeDocument/2006/relationships/vmlDrawing" Target="../drawings/vmlDrawing43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2.bin"/></Relationships>
</file>

<file path=ppt/slideLayouts/_rels/slideLayout9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4.xml"/><Relationship Id="rId1" Type="http://schemas.openxmlformats.org/officeDocument/2006/relationships/vmlDrawing" Target="../drawings/vmlDrawing43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3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5.xml"/><Relationship Id="rId1" Type="http://schemas.openxmlformats.org/officeDocument/2006/relationships/vmlDrawing" Target="../drawings/vmlDrawing43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4.bin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9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6.xml"/><Relationship Id="rId1" Type="http://schemas.openxmlformats.org/officeDocument/2006/relationships/vmlDrawing" Target="../drawings/vmlDrawing43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5.bin"/></Relationships>
</file>

<file path=ppt/slideLayouts/_rels/slideLayout9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7.xml"/><Relationship Id="rId1" Type="http://schemas.openxmlformats.org/officeDocument/2006/relationships/vmlDrawing" Target="../drawings/vmlDrawing43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6.bin"/></Relationships>
</file>

<file path=ppt/slideLayouts/_rels/slideLayout9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8.xml"/><Relationship Id="rId1" Type="http://schemas.openxmlformats.org/officeDocument/2006/relationships/vmlDrawing" Target="../drawings/vmlDrawing43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7.bin"/></Relationships>
</file>

<file path=ppt/slideLayouts/_rels/slideLayout9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9.xml"/><Relationship Id="rId1" Type="http://schemas.openxmlformats.org/officeDocument/2006/relationships/vmlDrawing" Target="../drawings/vmlDrawing43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8.bin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9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9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0.xml"/><Relationship Id="rId1" Type="http://schemas.openxmlformats.org/officeDocument/2006/relationships/vmlDrawing" Target="../drawings/vmlDrawing43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39.bin"/></Relationships>
</file>

<file path=ppt/slideLayouts/_rels/slideLayout9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1.xml"/><Relationship Id="rId1" Type="http://schemas.openxmlformats.org/officeDocument/2006/relationships/vmlDrawing" Target="../drawings/vmlDrawing44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0.bin"/></Relationships>
</file>

<file path=ppt/slideLayouts/_rels/slideLayout9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2.xml"/><Relationship Id="rId1" Type="http://schemas.openxmlformats.org/officeDocument/2006/relationships/vmlDrawing" Target="../drawings/vmlDrawing44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1.bin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3.xml"/><Relationship Id="rId1" Type="http://schemas.openxmlformats.org/officeDocument/2006/relationships/vmlDrawing" Target="../drawings/vmlDrawing4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2.bin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9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9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4.xml"/><Relationship Id="rId1" Type="http://schemas.openxmlformats.org/officeDocument/2006/relationships/vmlDrawing" Target="../drawings/vmlDrawing44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3.bin"/></Relationships>
</file>

<file path=ppt/slideLayouts/_rels/slideLayout9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5.xml"/><Relationship Id="rId1" Type="http://schemas.openxmlformats.org/officeDocument/2006/relationships/vmlDrawing" Target="../drawings/vmlDrawing44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4.bin"/></Relationships>
</file>

<file path=ppt/slideLayouts/_rels/slideLayout9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6.xml"/><Relationship Id="rId1" Type="http://schemas.openxmlformats.org/officeDocument/2006/relationships/vmlDrawing" Target="../drawings/vmlDrawing44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5.bin"/></Relationships>
</file>

<file path=ppt/slideLayouts/_rels/slideLayout9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7.xml"/><Relationship Id="rId1" Type="http://schemas.openxmlformats.org/officeDocument/2006/relationships/vmlDrawing" Target="../drawings/vmlDrawing44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6.bin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9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8.xml"/><Relationship Id="rId1" Type="http://schemas.openxmlformats.org/officeDocument/2006/relationships/vmlDrawing" Target="../drawings/vmlDrawing44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7.bin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9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9.xml"/><Relationship Id="rId1" Type="http://schemas.openxmlformats.org/officeDocument/2006/relationships/vmlDrawing" Target="../drawings/vmlDrawing44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8.bin"/></Relationships>
</file>

<file path=ppt/slideLayouts/_rels/slideLayout9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0.xml"/><Relationship Id="rId1" Type="http://schemas.openxmlformats.org/officeDocument/2006/relationships/vmlDrawing" Target="../drawings/vmlDrawing44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49.bin"/></Relationships>
</file>

<file path=ppt/slideLayouts/_rels/slideLayout9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1.xml"/><Relationship Id="rId1" Type="http://schemas.openxmlformats.org/officeDocument/2006/relationships/vmlDrawing" Target="../drawings/vmlDrawing45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0.bin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9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2.xml"/><Relationship Id="rId1" Type="http://schemas.openxmlformats.org/officeDocument/2006/relationships/vmlDrawing" Target="../drawings/vmlDrawing45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1.bin"/></Relationships>
</file>

<file path=ppt/slideLayouts/_rels/slideLayout9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3.xml"/><Relationship Id="rId1" Type="http://schemas.openxmlformats.org/officeDocument/2006/relationships/vmlDrawing" Target="../drawings/vmlDrawing45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2.bin"/></Relationships>
</file>

<file path=ppt/slideLayouts/_rels/slideLayout9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4.xml"/><Relationship Id="rId1" Type="http://schemas.openxmlformats.org/officeDocument/2006/relationships/vmlDrawing" Target="../drawings/vmlDrawing45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3.bin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9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5.xml"/><Relationship Id="rId1" Type="http://schemas.openxmlformats.org/officeDocument/2006/relationships/vmlDrawing" Target="../drawings/vmlDrawing45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4.bin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9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6.xml"/><Relationship Id="rId1" Type="http://schemas.openxmlformats.org/officeDocument/2006/relationships/vmlDrawing" Target="../drawings/vmlDrawing45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5.bin"/></Relationships>
</file>

<file path=ppt/slideLayouts/_rels/slideLayout9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7.xml"/><Relationship Id="rId1" Type="http://schemas.openxmlformats.org/officeDocument/2006/relationships/vmlDrawing" Target="../drawings/vmlDrawing45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6.bin"/></Relationships>
</file>

<file path=ppt/slideLayouts/_rels/slideLayout9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8.xml"/><Relationship Id="rId1" Type="http://schemas.openxmlformats.org/officeDocument/2006/relationships/vmlDrawing" Target="../drawings/vmlDrawing45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7.bin"/></Relationships>
</file>

<file path=ppt/slideLayouts/_rels/slideLayout9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9.xml"/><Relationship Id="rId1" Type="http://schemas.openxmlformats.org/officeDocument/2006/relationships/vmlDrawing" Target="../drawings/vmlDrawing45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8.bin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9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0.xml"/><Relationship Id="rId1" Type="http://schemas.openxmlformats.org/officeDocument/2006/relationships/vmlDrawing" Target="../drawings/vmlDrawing45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9.bin"/></Relationships>
</file>

<file path=ppt/slideLayouts/_rels/slideLayout9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1.xml"/><Relationship Id="rId1" Type="http://schemas.openxmlformats.org/officeDocument/2006/relationships/vmlDrawing" Target="../drawings/vmlDrawing46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0.bin"/></Relationships>
</file>

<file path=ppt/slideLayouts/_rels/slideLayout9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2.xml"/><Relationship Id="rId1" Type="http://schemas.openxmlformats.org/officeDocument/2006/relationships/vmlDrawing" Target="../drawings/vmlDrawing46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1.bin"/></Relationships>
</file>

<file path=ppt/slideLayouts/_rels/slideLayout9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3.xml"/><Relationship Id="rId1" Type="http://schemas.openxmlformats.org/officeDocument/2006/relationships/vmlDrawing" Target="../drawings/vmlDrawing46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2.bin"/></Relationships>
</file>

<file path=ppt/slideLayouts/_rels/slideLayout9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9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9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4.xml"/><Relationship Id="rId1" Type="http://schemas.openxmlformats.org/officeDocument/2006/relationships/vmlDrawing" Target="../drawings/vmlDrawing46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3.bin"/></Relationships>
</file>

<file path=ppt/slideLayouts/_rels/slideLayout9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5.xml"/><Relationship Id="rId1" Type="http://schemas.openxmlformats.org/officeDocument/2006/relationships/vmlDrawing" Target="../drawings/vmlDrawing46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4.bin"/></Relationships>
</file>

<file path=ppt/slideLayouts/_rels/slideLayout9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6.xml"/><Relationship Id="rId1" Type="http://schemas.openxmlformats.org/officeDocument/2006/relationships/vmlDrawing" Target="../drawings/vmlDrawing46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5.bin"/></Relationships>
</file>

<file path=ppt/slideLayouts/_rels/slideLayout9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7.xml"/><Relationship Id="rId1" Type="http://schemas.openxmlformats.org/officeDocument/2006/relationships/vmlDrawing" Target="../drawings/vmlDrawing46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6.bin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9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8.xml"/><Relationship Id="rId1" Type="http://schemas.openxmlformats.org/officeDocument/2006/relationships/vmlDrawing" Target="../drawings/vmlDrawing46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6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3016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25934" y="177178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l">
              <a:defRPr sz="2000" b="1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6197242"/>
            <a:ext cx="8412480" cy="400110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2000" b="1" i="1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takeaway</a:t>
            </a: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0" y="990600"/>
            <a:ext cx="9144000" cy="0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1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80946" y="119418"/>
            <a:ext cx="586854" cy="566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12"/>
          <p:cNvSpPr>
            <a:spLocks noChangeArrowheads="1"/>
          </p:cNvSpPr>
          <p:nvPr userDrawn="1"/>
        </p:nvSpPr>
        <p:spPr bwMode="auto">
          <a:xfrm>
            <a:off x="8748464" y="6567155"/>
            <a:ext cx="339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000000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40237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395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2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0527868"/>
      </p:ext>
    </p:extLst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37629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855714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87323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3357201"/>
      </p:ext>
    </p:extLst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065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051252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241223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846518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886941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41928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112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9937296"/>
      </p:ext>
    </p:extLst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394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491882"/>
      </p:ext>
    </p:extLst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3823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4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88710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1205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2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907990"/>
      </p:ext>
    </p:extLst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9659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59622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526646"/>
      </p:ext>
    </p:extLst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503782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760878"/>
      </p:ext>
    </p:extLst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13863"/>
      </p:ext>
    </p:extLst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0918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6452382"/>
      </p:ext>
    </p:extLst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3032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003955"/>
      </p:ext>
    </p:extLst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6736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4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9075712"/>
      </p:ext>
    </p:extLst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928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945070"/>
      </p:ext>
    </p:extLst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1506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5257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563769"/>
      </p:ext>
    </p:extLst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117574"/>
      </p:ext>
    </p:extLst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30026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4F4C25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4F4C25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45063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5878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0" y="990600"/>
            <a:ext cx="9144000" cy="0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0"/>
            <a:ext cx="8328546" cy="990600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</a:pPr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  <a:cs typeface="+mn-cs"/>
              </a:rPr>
              <a:pPr algn="ctr" defTabSz="457200" eaLnBrk="0" fontAlgn="auto" hangingPunct="0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07084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797203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47"/>
          <a:stretch/>
        </p:blipFill>
        <p:spPr>
          <a:xfrm>
            <a:off x="-9145" y="3155575"/>
            <a:ext cx="9217152" cy="3349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719732"/>
      </p:ext>
    </p:extLst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464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2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4698365"/>
      </p:ext>
    </p:extLst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75108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2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290387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9443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22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9241215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16069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3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442390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251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2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034515"/>
      </p:ext>
    </p:extLst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801493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042472"/>
      </p:ext>
    </p:extLst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Op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4574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64AD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045749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952" y="3253487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5" y="6544235"/>
            <a:ext cx="956378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43419"/>
            <a:ext cx="8229600" cy="13540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15240" y="6788537"/>
            <a:ext cx="9171432" cy="73152"/>
          </a:xfrm>
          <a:prstGeom prst="rect">
            <a:avLst/>
          </a:prstGeom>
          <a:solidFill>
            <a:srgbClr val="005AA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723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59952" y="6583680"/>
            <a:ext cx="384048" cy="292608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AAAAAA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9E60C4C-C58F-A640-AA0B-3CEA46C9991F}" type="slidenum">
              <a:rPr lang="en-US" smtClean="0">
                <a:latin typeface="Arial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latin typeface="Arial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1713" y="6458783"/>
            <a:ext cx="8072375" cy="376053"/>
          </a:xfrm>
          <a:prstGeom prst="rect">
            <a:avLst/>
          </a:prstGeom>
        </p:spPr>
        <p:txBody>
          <a:bodyPr anchor="b"/>
          <a:lstStyle>
            <a:lvl1pPr>
              <a:defRPr sz="1000">
                <a:solidFill>
                  <a:srgbClr val="AAAAAA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latin typeface="Arial"/>
                <a:cs typeface="+mn-cs"/>
              </a:rPr>
              <a:t>Footnote</a:t>
            </a:r>
            <a:endParaRPr lang="en-US" dirty="0"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7214137"/>
      </p:ext>
    </p:extLst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1393"/>
      </p:ext>
    </p:extLst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834006"/>
      </p:ext>
    </p:extLst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5257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7427713"/>
      </p:ext>
    </p:extLst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40779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3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827009"/>
      </p:ext>
    </p:extLst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917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3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8976157"/>
      </p:ext>
    </p:extLst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70036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3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2527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606007"/>
      </p:ext>
    </p:extLst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390125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576591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275792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060896"/>
      </p:ext>
    </p:extLst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111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4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9817110"/>
      </p:ext>
    </p:extLst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070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4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585796"/>
      </p:ext>
    </p:extLst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430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4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7504542"/>
      </p:ext>
    </p:extLst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65361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4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413439"/>
      </p:ext>
    </p:extLst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684647"/>
      </p:ext>
    </p:extLst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94827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981429"/>
      </p:ext>
    </p:extLst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147053"/>
      </p:ext>
    </p:extLst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168510"/>
      </p:ext>
    </p:extLst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1017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25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2669130"/>
      </p:ext>
    </p:extLst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372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35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887561"/>
      </p:ext>
    </p:extLst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0385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5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567408"/>
      </p:ext>
    </p:extLst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4404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5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596881"/>
      </p:ext>
    </p:extLst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79514"/>
      </p:ext>
    </p:extLst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671329"/>
      </p:ext>
    </p:extLst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93377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67224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22205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044404"/>
      </p:ext>
    </p:extLst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434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6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415388"/>
      </p:ext>
    </p:extLst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4478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6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806623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12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6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7436670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351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6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824576"/>
      </p:ext>
    </p:extLst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361771"/>
      </p:ext>
    </p:extLst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399011"/>
      </p:ext>
    </p:extLst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001819"/>
      </p:ext>
    </p:extLst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832029"/>
      </p:ext>
    </p:extLst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741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7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507686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97636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24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7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900546"/>
      </p:ext>
    </p:extLst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666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27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964965"/>
      </p:ext>
    </p:extLst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935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37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2454866"/>
      </p:ext>
    </p:extLst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210922"/>
      </p:ext>
    </p:extLst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472122"/>
      </p:ext>
    </p:extLst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88764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57466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816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4465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6026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86074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37511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3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2047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016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38199865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31208490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291184"/>
      </p:ext>
    </p:extLst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194453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7088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8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9062230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6426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8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034677"/>
      </p:ext>
    </p:extLst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89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8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7931128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916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9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7202675"/>
      </p:ext>
    </p:extLst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461198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12147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487363"/>
      </p:ext>
    </p:extLst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998646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36489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1033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9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33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4087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40455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539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816454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32075837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1836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2400" y="79375"/>
            <a:ext cx="7326313" cy="9017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defTabSz="457200" eaLnBrk="0" hangingPunct="0"/>
            <a:fld id="{090EB062-F74A-48E3-949C-AE146B96ACCE}" type="slidenum">
              <a:rPr lang="en-US" sz="1000">
                <a:solidFill>
                  <a:srgbClr val="C1C6C8">
                    <a:lumMod val="50000"/>
                  </a:srgbClr>
                </a:solidFill>
                <a:latin typeface="Arial"/>
              </a:rPr>
              <a:pPr algn="ctr" defTabSz="457200" eaLnBrk="0" hangingPunct="0"/>
              <a:t>‹#›</a:t>
            </a:fld>
            <a:endParaRPr lang="en-US" sz="1000" dirty="0">
              <a:solidFill>
                <a:srgbClr val="C1C6C8">
                  <a:lumMod val="50000"/>
                </a:srgbClr>
              </a:solidFill>
              <a:latin typeface="Arial"/>
            </a:endParaRPr>
          </a:p>
        </p:txBody>
      </p:sp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defTabSz="457200" eaLnBrk="0" hangingPunct="0"/>
            <a:r>
              <a:rPr lang="en-US" sz="600" dirty="0">
                <a:solidFill>
                  <a:srgbClr val="C1C6C8">
                    <a:lumMod val="50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C1C6C8">
                    <a:lumMod val="50000"/>
                  </a:srgbClr>
                </a:solidFill>
                <a:latin typeface="Arial"/>
              </a:rPr>
              <a:t>2014 FSG</a:t>
            </a:r>
            <a:endParaRPr lang="en-US" sz="600" dirty="0">
              <a:solidFill>
                <a:srgbClr val="C1C6C8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646166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85657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522591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063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9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4569234"/>
      </p:ext>
    </p:extLst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5610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9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425652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061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29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8964286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8781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40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939395"/>
      </p:ext>
    </p:extLst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969909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575439"/>
      </p:ext>
    </p:extLst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25995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78420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445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7599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692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2613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34429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09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9605110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37367240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635363"/>
      </p:ext>
    </p:extLst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051564"/>
      </p:ext>
    </p:extLst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379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0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1429367"/>
      </p:ext>
    </p:extLst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720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0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253846"/>
      </p:ext>
    </p:extLst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72860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1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865721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9758045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6961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1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829630"/>
      </p:ext>
    </p:extLst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778688"/>
      </p:ext>
    </p:extLst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641926"/>
      </p:ext>
    </p:extLst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41207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00271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0392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1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8099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4842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51637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523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16479048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35733662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21161750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730591"/>
      </p:ext>
    </p:extLst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163485"/>
      </p:ext>
    </p:extLst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285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11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9133533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918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22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237043"/>
      </p:ext>
    </p:extLst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2833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32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2181740"/>
      </p:ext>
    </p:extLst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522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42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620168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376056"/>
      </p:ext>
    </p:extLst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301476"/>
      </p:ext>
    </p:extLst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15283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76594"/>
      </p:ext>
    </p:extLst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036960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396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2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8678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46139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64551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676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24326780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1805012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301724"/>
      </p:ext>
    </p:extLst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124988"/>
      </p:ext>
    </p:extLst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5537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3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3824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706114"/>
      </p:ext>
    </p:extLst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0339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8572307"/>
      </p:ext>
    </p:extLst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0096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3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2703563"/>
      </p:ext>
    </p:extLst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09818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93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186218"/>
      </p:ext>
    </p:extLst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066850"/>
      </p:ext>
    </p:extLst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623917"/>
      </p:ext>
    </p:extLst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18106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91687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3285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4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6578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92158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64651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530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1161570"/>
      </p:ext>
    </p:extLst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936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4737912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21082420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810840"/>
      </p:ext>
    </p:extLst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763732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6505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14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832859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2788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24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681585"/>
      </p:ext>
    </p:extLst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053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34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753159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788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45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12491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1128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0315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220688"/>
      </p:ext>
    </p:extLst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966888"/>
      </p:ext>
    </p:extLst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01228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95737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49490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4310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9819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3040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137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33503988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27798887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74296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834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7288216"/>
      </p:ext>
    </p:extLst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695076"/>
      </p:ext>
    </p:extLst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865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5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804263"/>
      </p:ext>
    </p:extLst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2286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5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895341"/>
      </p:ext>
    </p:extLst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4534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85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4154160"/>
      </p:ext>
    </p:extLst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510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96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296832"/>
      </p:ext>
    </p:extLst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147160"/>
      </p:ext>
    </p:extLst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409309"/>
      </p:ext>
    </p:extLst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30088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68144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6989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6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3279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4376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00323"/>
      </p:ext>
    </p:extLst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92429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7695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538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22528630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14561400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265414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42278"/>
      </p:ext>
    </p:extLst>
  </p:cSld>
  <p:clrMapOvr>
    <a:masterClrMapping/>
  </p:clrMapOvr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8763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16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1369714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853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26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350829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512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37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719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48242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00678"/>
      </p:ext>
    </p:extLst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008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47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470028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895842"/>
      </p:ext>
    </p:extLst>
  </p:cSld>
  <p:clrMapOvr>
    <a:masterClrMapping/>
  </p:clrMapOvr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728136"/>
      </p:ext>
    </p:extLst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31233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31717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7772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9816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12753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33775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693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38389154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84942"/>
      </p:ext>
    </p:extLst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12250700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781445"/>
      </p:ext>
    </p:extLst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425191"/>
      </p:ext>
    </p:extLst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1814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937011"/>
      </p:ext>
    </p:extLst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073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78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913985"/>
      </p:ext>
    </p:extLst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0286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8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9512079"/>
      </p:ext>
    </p:extLst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2784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98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658825"/>
      </p:ext>
    </p:extLst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743439"/>
      </p:ext>
    </p:extLst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725618"/>
      </p:ext>
    </p:extLst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65307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52851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53906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8786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08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331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6119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44539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319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8003736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14051973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243712"/>
      </p:ext>
    </p:extLst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161052"/>
      </p:ext>
    </p:extLst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4622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19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959014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54313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2342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29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583484"/>
      </p:ext>
    </p:extLst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5755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39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8566695"/>
      </p:ext>
    </p:extLst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8676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49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914664"/>
      </p:ext>
    </p:extLst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9776588"/>
      </p:ext>
    </p:extLst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578926"/>
      </p:ext>
    </p:extLst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79451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59171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9606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4812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2858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5851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2281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104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782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26507699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15348866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818234"/>
      </p:ext>
    </p:extLst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108681"/>
      </p:ext>
    </p:extLst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148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1272655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5192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506397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4735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6260822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035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948436"/>
      </p:ext>
    </p:extLst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531096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7767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703419"/>
      </p:ext>
    </p:extLst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42423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183367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9694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1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62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1240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2518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869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22014017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33473879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71731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02703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015575"/>
      </p:ext>
    </p:extLst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9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1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141639"/>
      </p:ext>
    </p:extLst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9779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1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765554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431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1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5891646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8033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2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540579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200537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648189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00519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96222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16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5831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207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7118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86673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659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18034038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25471784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28331"/>
      </p:ext>
    </p:extLst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381629"/>
      </p:ext>
    </p:extLst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7262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2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4485893"/>
      </p:ext>
    </p:extLst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9005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2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893197"/>
      </p:ext>
    </p:extLst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4725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3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352972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10278940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97014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3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644437"/>
      </p:ext>
    </p:extLst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601362"/>
      </p:ext>
    </p:extLst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415063"/>
      </p:ext>
    </p:extLst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57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33865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7668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2864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4135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4820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09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29375321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10239117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19351349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368917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714573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375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3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3821018"/>
      </p:ext>
    </p:extLst>
  </p:cSld>
  <p:clrMapOvr>
    <a:masterClrMapping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4101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34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168468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90722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4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8014960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4709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4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769264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344632"/>
      </p:ext>
    </p:extLst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475394"/>
      </p:ext>
    </p:extLst>
  </p:cSld>
  <p:clrMapOvr>
    <a:masterClrMapping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50169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75372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321219"/>
      </p:ext>
    </p:extLst>
  </p:cSld>
  <p:clrMapOvr>
    <a:masterClrMapping/>
  </p:clrMapOvr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091285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8594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2721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56288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99381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083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7854455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33328007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685970"/>
      </p:ext>
    </p:extLst>
  </p:cSld>
  <p:clrMapOvr>
    <a:masterClrMapping/>
  </p:clrMapOvr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483815"/>
      </p:ext>
    </p:extLst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511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292504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602798"/>
      </p:ext>
    </p:extLst>
  </p:cSld>
  <p:clrMapOvr>
    <a:masterClrMapping/>
  </p:clrMapOvr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1065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5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436825"/>
      </p:ext>
    </p:extLst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855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5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2386365"/>
      </p:ext>
    </p:extLst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6026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5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730866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16290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462542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975883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8068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341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6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7518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63531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90790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988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206417"/>
      </p:ext>
    </p:extLst>
  </p:cSld>
  <p:clrMapOvr>
    <a:masterClrMapping/>
  </p:clrMapOvr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1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40267391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29502174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694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7115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2578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87103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7880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01397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36524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38762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8887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0598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953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499449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5143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9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711060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0246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9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59996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9784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9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63857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602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9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86830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95705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43217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0362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62470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094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7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12393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54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8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162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8661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54716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826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8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769230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244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15093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57116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247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24635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28224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36939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14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467737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87031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07651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7628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40999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71147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7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9783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678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932567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24620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21324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Op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4574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64AD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045749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952" y="3253487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5" y="6544235"/>
            <a:ext cx="956378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43419"/>
            <a:ext cx="8229600" cy="13540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15240" y="6788537"/>
            <a:ext cx="9171432" cy="73152"/>
          </a:xfrm>
          <a:prstGeom prst="rect">
            <a:avLst/>
          </a:prstGeom>
          <a:solidFill>
            <a:srgbClr val="005AA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994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54828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6716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8739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5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71384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104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5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05327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904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15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390059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603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5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370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9198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9257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39395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16908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74685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72409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8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16090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46921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40550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228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82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523300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392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7518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29116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54099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685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46320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515630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391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10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78703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056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2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11357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538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614691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1314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1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062848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87953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67828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5" y="6544235"/>
            <a:ext cx="956378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194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5" y="6544235"/>
            <a:ext cx="956378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1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480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09454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59952" y="6583680"/>
            <a:ext cx="384048" cy="292608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AAAAAA"/>
                </a:solidFill>
              </a:defRPr>
            </a:lvl1pPr>
          </a:lstStyle>
          <a:p>
            <a:fld id="{59E60C4C-C58F-A640-AA0B-3CEA46C99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02731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59952" y="6583680"/>
            <a:ext cx="384048" cy="292608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AAAAAA"/>
                </a:solidFill>
              </a:defRPr>
            </a:lvl1pPr>
          </a:lstStyle>
          <a:p>
            <a:fld id="{59E60C4C-C58F-A640-AA0B-3CEA46C999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1713" y="6458783"/>
            <a:ext cx="8072375" cy="376053"/>
          </a:xfrm>
          <a:prstGeom prst="rect">
            <a:avLst/>
          </a:prstGeom>
        </p:spPr>
        <p:txBody>
          <a:bodyPr anchor="b"/>
          <a:lstStyle>
            <a:lvl1pPr>
              <a:defRPr sz="1000">
                <a:solidFill>
                  <a:srgbClr val="AAAAAA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118574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59952" y="6583680"/>
            <a:ext cx="384048" cy="292608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AAAAAA"/>
                </a:solidFill>
              </a:defRPr>
            </a:lvl1pPr>
          </a:lstStyle>
          <a:p>
            <a:fld id="{59E60C4C-C58F-A640-AA0B-3CEA46C999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92392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60105" y="6540745"/>
            <a:ext cx="379933" cy="29258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AE9BE8-FE88-2C43-BCBB-924429931EC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85476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39912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266573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748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9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627070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1913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9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32561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205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70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606328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972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80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498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9993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7349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94780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1209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41849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66618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3016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7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306289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0422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7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48810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809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7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12931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4804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8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92154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32206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6690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61793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93907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382727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8013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3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646447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5565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50318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7337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509259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58989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06215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41653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87660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31620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87095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613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467583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238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2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252580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249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61134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201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3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466634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65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3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46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03194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41038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63313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27953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921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576633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574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6221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9492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76695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51135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9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151460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7232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51252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51854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83384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36230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58640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507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56886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326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96459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25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017556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0247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2778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82578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105308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14924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80200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61684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880699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005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33255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6293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09561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06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176022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770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49088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16003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9350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573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280133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38864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923374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2851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567712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314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58337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293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294622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6430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96632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96850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92611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8183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976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33722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438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9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129173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72084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9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50366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9262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535773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114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477316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41926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95372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93646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772071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263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8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689590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7870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8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2061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88171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533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8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08126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8123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8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96733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86703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72724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89520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49336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939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7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118552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131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7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82957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08069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877432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3649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7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5399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5" y="6544235"/>
            <a:ext cx="956378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52770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90937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48560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73173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90404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06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5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59392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0123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6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88458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4890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6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582749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700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6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356336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255018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827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746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3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347472" y="1377831"/>
            <a:ext cx="8453628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8453628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5" y="6544235"/>
            <a:ext cx="956378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95826" y="3561648"/>
            <a:ext cx="8952349" cy="2796771"/>
            <a:chOff x="87638" y="3561648"/>
            <a:chExt cx="8952349" cy="2796771"/>
          </a:xfrm>
        </p:grpSpPr>
        <p:pic>
          <p:nvPicPr>
            <p:cNvPr id="23" name="Picture 303" descr="http://www.ncjfcj.org/sites/default/files/styles/main/public/boy_0.jpg?itok=zmicdLC-"/>
            <p:cNvPicPr>
              <a:picLocks noChangeAspect="1" noChangeArrowheads="1"/>
            </p:cNvPicPr>
            <p:nvPr/>
          </p:nvPicPr>
          <p:blipFill rotWithShape="1">
            <a:blip r:embed="rId8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Texturize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743828" y="3561649"/>
              <a:ext cx="4194595" cy="27967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 4"/>
            <p:cNvGrpSpPr/>
            <p:nvPr userDrawn="1"/>
          </p:nvGrpSpPr>
          <p:grpSpPr>
            <a:xfrm>
              <a:off x="87638" y="3561648"/>
              <a:ext cx="2593737" cy="2796771"/>
              <a:chOff x="87638" y="3561648"/>
              <a:chExt cx="2593737" cy="2796771"/>
            </a:xfrm>
          </p:grpSpPr>
          <p:pic>
            <p:nvPicPr>
              <p:cNvPr id="24" name="Picture 324" descr="http://raymonn.com/njja.org/wp-content/uploads/spot-collaboration.jpg"/>
              <p:cNvPicPr>
                <a:picLocks noChangeAspect="1" noChangeArrowheads="1"/>
              </p:cNvPicPr>
              <p:nvPr/>
            </p:nvPicPr>
            <p:blipFill rotWithShape="1">
              <a:blip r:embed="rId10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artisticTexturizer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87638" y="5217257"/>
                <a:ext cx="2593737" cy="11411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" name="Picture 301" descr="http://acjusticeproject.files.wordpress.com/2012/01/juvenile_justice_0916.jpg"/>
              <p:cNvPicPr>
                <a:picLocks noChangeAspect="1" noChangeArrowheads="1"/>
              </p:cNvPicPr>
              <p:nvPr/>
            </p:nvPicPr>
            <p:blipFill>
              <a:blip r:embed="rId12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artisticTexturizer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638" y="3561648"/>
                <a:ext cx="2593737" cy="16036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" name="Group 3"/>
            <p:cNvGrpSpPr/>
            <p:nvPr userDrawn="1"/>
          </p:nvGrpSpPr>
          <p:grpSpPr>
            <a:xfrm>
              <a:off x="7000875" y="3561648"/>
              <a:ext cx="2039112" cy="2796771"/>
              <a:chOff x="7000875" y="3561648"/>
              <a:chExt cx="2039112" cy="2796771"/>
            </a:xfrm>
          </p:grpSpPr>
          <p:pic>
            <p:nvPicPr>
              <p:cNvPr id="25" name="Picture 322" descr="http://timenewsfeed.files.wordpress.com/2011/06/sb10065231cl-001.jpg?w=480&amp;h=320&amp;crop=1"/>
              <p:cNvPicPr>
                <a:picLocks noChangeAspect="1" noChangeArrowheads="1"/>
              </p:cNvPicPr>
              <p:nvPr/>
            </p:nvPicPr>
            <p:blipFill>
              <a:blip r:embed="rId14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5">
                        <a14:imgEffect>
                          <a14:artisticTexturizer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00875" y="3561648"/>
                <a:ext cx="2039112" cy="13697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320"/>
              <p:cNvPicPr>
                <a:picLocks noChangeAspect="1" noChangeArrowheads="1"/>
              </p:cNvPicPr>
              <p:nvPr/>
            </p:nvPicPr>
            <p:blipFill rotWithShape="1">
              <a:blip r:embed="rId16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7">
                        <a14:imgEffect>
                          <a14:artisticTexturizer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7000875" y="4992148"/>
                <a:ext cx="2039112" cy="13662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71178484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07003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8240082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2150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84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482347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349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94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73882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249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029065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9045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5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180050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522529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0296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75260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04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8247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35193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59952" y="6583680"/>
            <a:ext cx="384048" cy="292608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AAAAAA"/>
                </a:solidFill>
              </a:defRPr>
            </a:lvl1pPr>
          </a:lstStyle>
          <a:p>
            <a:fld id="{59E60C4C-C58F-A640-AA0B-3CEA46C9991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325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05795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3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933572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7706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3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7406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243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3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168588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005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58082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908020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315468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00250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0074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0020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51856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454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281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59952" y="6583680"/>
            <a:ext cx="384048" cy="292608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AAAAAA"/>
                </a:solidFill>
              </a:defRPr>
            </a:lvl1pPr>
          </a:lstStyle>
          <a:p>
            <a:fld id="{59E60C4C-C58F-A640-AA0B-3CEA46C99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120664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273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7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388442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4725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8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44201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122809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02630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98417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30641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19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9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56021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3803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9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31475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0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9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8030252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740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9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0293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59952" y="6583680"/>
            <a:ext cx="384048" cy="292608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AAAAAA"/>
                </a:solidFill>
              </a:defRPr>
            </a:lvl1pPr>
          </a:lstStyle>
          <a:p>
            <a:fld id="{59E60C4C-C58F-A640-AA0B-3CEA46C999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1713" y="6458783"/>
            <a:ext cx="8072375" cy="376053"/>
          </a:xfrm>
          <a:prstGeom prst="rect">
            <a:avLst/>
          </a:prstGeom>
        </p:spPr>
        <p:txBody>
          <a:bodyPr anchor="b"/>
          <a:lstStyle>
            <a:lvl1pPr>
              <a:defRPr sz="1000">
                <a:solidFill>
                  <a:srgbClr val="AAAAAA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latin typeface="Arial"/>
              </a:rPr>
              <a:t>Footnote</a:t>
            </a:r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760419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495915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01993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297902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711605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0214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7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270293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656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8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130637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5145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8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2739180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1486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8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603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90531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8813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59952" y="6583680"/>
            <a:ext cx="384048" cy="292608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AAAAAA"/>
                </a:solidFill>
              </a:defRPr>
            </a:lvl1pPr>
          </a:lstStyle>
          <a:p>
            <a:fld id="{59E60C4C-C58F-A640-AA0B-3CEA46C999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48977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30492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368555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7090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6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484230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538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6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318846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311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7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117214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6864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7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986022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04164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348092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69678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6010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60105" y="6540745"/>
            <a:ext cx="379933" cy="29258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AE9BE8-FE88-2C43-BCBB-924429931EC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606399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614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8909612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737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5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167460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8252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5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236844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459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6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478212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796405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89719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39020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989035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49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4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2936641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5186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4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2220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74996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03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4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2939802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5880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7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734355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653553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37080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21235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247065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9835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2205157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645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3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648983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0490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3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9461831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48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3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432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648499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3627926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244001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726944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2345776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7405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0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7958499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7018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0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15166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849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4134689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0506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74105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930389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8258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4950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7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8247165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591643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432253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858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6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8573040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4294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7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559545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1717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7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261470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543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7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4916303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722580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231872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736917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0575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4620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8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082933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2506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75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3679233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77896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102595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3238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6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9902578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0625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6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861329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808199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924143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199091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902155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5665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8845843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678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1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1394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503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8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5493826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6258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1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1740716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512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1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306554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288048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073367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908107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207675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415413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83556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748974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7031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9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660057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07842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0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370857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0377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0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3279466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0378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0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8918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26965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78496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53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8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261335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9893225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566401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908107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207675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415413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544862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21179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5603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8921111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9610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8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020738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997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9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8466151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2792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9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8690977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753332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3683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4446342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429364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5659971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297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6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8453555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001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7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792673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266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7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4010658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0675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146366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356111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632339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321264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29715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360684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108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5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141979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541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55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260061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577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6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6593887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72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532795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267481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597835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44198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8456729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3310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4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3610564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5816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4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460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83278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9520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6482309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5608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950717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919265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54295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441474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232248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4160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2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8758751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0577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2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346019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51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32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1203375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258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3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9903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25032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602705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486191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018464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4930143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8989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1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4813952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308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92520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6658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1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9419187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9270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2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5425584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780706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7396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411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8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5006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3560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3648947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9531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0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3295342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560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0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373980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686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0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582220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376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0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294456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095260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858223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79863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01263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624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7759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8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6133205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304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0436899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3649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9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1576294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607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9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930016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037478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663870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869828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897488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735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7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4089224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096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7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2642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69056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061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8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2597804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5820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8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006483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220053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785695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010979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516777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1408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3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676393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238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3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825299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90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4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466371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7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01856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24784336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709148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462143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707032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1278659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568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6831707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977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2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230709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71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4805478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3661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3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43216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624011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51888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854859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642403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8099326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0118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0110595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6492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1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026275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647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1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402855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7153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076708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921464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191479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908107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207675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415413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702458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757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817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17238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954289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578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0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6075574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9568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0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575745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679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7745265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2805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708820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016519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203234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185428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9769355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653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8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899600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261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9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4246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794037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9224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9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3978678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5346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269334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380922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710299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96457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2238002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0395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7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8393616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600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7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830790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417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8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2499828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1858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8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4189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3654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6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484019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5001629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388106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567226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264002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1974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6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9091417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323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6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298898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967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6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4864550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68216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688793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585686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6547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1550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831044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- Op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4574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64AD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045749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952" y="3253487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5" y="6544235"/>
            <a:ext cx="956378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43419"/>
            <a:ext cx="8229600" cy="13540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15240" y="6788537"/>
            <a:ext cx="9171432" cy="73152"/>
          </a:xfrm>
          <a:prstGeom prst="rect">
            <a:avLst/>
          </a:prstGeom>
          <a:solidFill>
            <a:srgbClr val="005AA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629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584106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174710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4835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5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7765209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96809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5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76500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957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5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8105908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94889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5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750834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362774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760175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- Op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4574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64AD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045749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952" y="3253487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5" y="6544235"/>
            <a:ext cx="956378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43419"/>
            <a:ext cx="8229600" cy="13540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15240" y="6788537"/>
            <a:ext cx="9171432" cy="73152"/>
          </a:xfrm>
          <a:prstGeom prst="rect">
            <a:avLst/>
          </a:prstGeom>
          <a:solidFill>
            <a:srgbClr val="005AA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915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99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2844762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785488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78720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209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4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02405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938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4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062495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076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4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2455358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243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071081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942503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60219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380454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10666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0406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824620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237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2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1816963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013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891335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2851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3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0153418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0400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3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873074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921355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211534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50097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369085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773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1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4317787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2075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3849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110295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2728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2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302806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4671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225927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469630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870312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902075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8088289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518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0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0532505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470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726893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133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8337545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4600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1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4046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26203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538980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079686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545412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9339701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57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9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5309770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9060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9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505241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649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9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2851360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22854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6487780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609784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3204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249740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5" y="6544235"/>
            <a:ext cx="956378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90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5" y="6544235"/>
            <a:ext cx="956378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35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0183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59952" y="6583680"/>
            <a:ext cx="384048" cy="292608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AAAAAA"/>
                </a:solidFill>
              </a:defRPr>
            </a:lvl1pPr>
          </a:lstStyle>
          <a:p>
            <a:fld id="{59E60C4C-C58F-A640-AA0B-3CEA46C999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372910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59952" y="6583680"/>
            <a:ext cx="384048" cy="292608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AAAAAA"/>
                </a:solidFill>
              </a:defRPr>
            </a:lvl1pPr>
          </a:lstStyle>
          <a:p>
            <a:fld id="{59E60C4C-C58F-A640-AA0B-3CEA46C999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1713" y="6458783"/>
            <a:ext cx="8072375" cy="376053"/>
          </a:xfrm>
          <a:prstGeom prst="rect">
            <a:avLst/>
          </a:prstGeom>
        </p:spPr>
        <p:txBody>
          <a:bodyPr anchor="b"/>
          <a:lstStyle>
            <a:lvl1pPr>
              <a:defRPr sz="1000">
                <a:solidFill>
                  <a:srgbClr val="AAAAAA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7874871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59952" y="6583680"/>
            <a:ext cx="384048" cy="292608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AAAAAA"/>
                </a:solidFill>
              </a:defRPr>
            </a:lvl1pPr>
          </a:lstStyle>
          <a:p>
            <a:fld id="{59E60C4C-C58F-A640-AA0B-3CEA46C9991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186689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60105" y="6540745"/>
            <a:ext cx="379933" cy="29258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AE9BE8-FE88-2C43-BCBB-924429931EC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604059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908107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207675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415413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766472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864635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3794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7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9312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102896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228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7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180581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528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807114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8204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7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989512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864019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2333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766301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659195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1744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5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450074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2541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482972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163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01842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8813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7642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4208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7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0660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59784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6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313003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422398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867327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513135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4489375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50920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4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2903492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932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4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811213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7206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9070296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2275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5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323602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4822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00987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305471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845913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167508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517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4789757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75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3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82053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2285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9938825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431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4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373538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040790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323829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4041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2912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831186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822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500839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6103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2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902703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257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37707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4203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00631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488461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270836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031842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3991983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2423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90916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285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64696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238409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107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2615053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10894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104148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026013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76461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23237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086877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1889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27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9616745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7206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10410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4020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8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501165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34615889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3160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8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664663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676891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025360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 - Opt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4574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64AD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045749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952" y="3253487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5" y="6544235"/>
            <a:ext cx="956378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43419"/>
            <a:ext cx="8229600" cy="13540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15240" y="6788537"/>
            <a:ext cx="9171432" cy="73152"/>
          </a:xfrm>
          <a:prstGeom prst="rect">
            <a:avLst/>
          </a:prstGeom>
          <a:solidFill>
            <a:srgbClr val="005AA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495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935588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3330500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8426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6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6249278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9067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86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596572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2256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97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039186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69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07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40827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6509420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3088714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431341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141525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212835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663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5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1261116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1776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445273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515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5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595714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7392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6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8311530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735931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07531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508724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376611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337728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683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4288148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6642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84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348239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3456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94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8198968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4580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04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637925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897402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043570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748769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83182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474847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8662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206308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843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386658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7343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1558300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28909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355194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907549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362711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335047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742112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0712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9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393769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3310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89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9968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62313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5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3409336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3190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00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9496200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70541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10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566581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15201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95469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908107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207675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415413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923516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238801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482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3895815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2075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8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33337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3413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8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1681872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0342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9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60614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5811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5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488173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425268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285428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360251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153710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5872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6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6970920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803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7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550134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382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87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9775127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8264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7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429837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397787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6123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8213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31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5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086580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470485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3041928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6539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15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224786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5534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929588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5576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6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287151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0462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6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163378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466386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026676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798928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187342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440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5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124229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176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2454381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4575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7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189092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1648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8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7483989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4858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5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412144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167371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380236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431437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744612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6557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3053449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2713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9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56644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753998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0724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4435317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22904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9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91697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021262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826283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699121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630176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7269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7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8841877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09767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8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427126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4443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9082860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1420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8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3481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905034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68550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606410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2400" y="79375"/>
            <a:ext cx="7326313" cy="9017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</a:pPr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defTabSz="457200" eaLnBrk="0" fontAlgn="auto" hangingPunct="0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5762128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771509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182368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9902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8121804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9969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508838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116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7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663705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45099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30064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8027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68116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879460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139467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271877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386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5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8443990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2538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5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899265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75808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5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2872142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64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6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285721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572515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038459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426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43169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101345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6298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4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2207011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094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4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382350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5315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4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289818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2451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4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422971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292181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421104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908107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207675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415413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866031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340525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4523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3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6929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4124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6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4400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1307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3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920006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45652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3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225689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4410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190014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02042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163136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363477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165793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3175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9476459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905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2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837985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137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2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83114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73619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5143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2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186978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291655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528678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631401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71381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3928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0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8511074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0683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0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024188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257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1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1989611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957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394835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7106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86928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664420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706428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300898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904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9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1947838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5814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9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208716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9363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9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9932834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287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0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624994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388244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255913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02030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757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121489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937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7960088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0712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8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999395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504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7195946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0057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705216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1423667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153338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04040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47408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09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8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19284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38048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12229267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3826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819411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404929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5640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7154599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575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598318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2051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3646335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05437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886942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063138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303815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869198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38232999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64600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5079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5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2199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85548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908107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207675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415413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050588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316739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2593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6267548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6604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546630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1924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8849686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270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0824466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91177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635627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893485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459374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713745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598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3975880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8578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465895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8008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660867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9930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763251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185932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380118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2225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115978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546315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0164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4203826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40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1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923637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515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1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5493374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1741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1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223766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789846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020253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292795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507132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515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0180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318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9860297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41159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040987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184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8189301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955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0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09809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334946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173736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615287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985158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23896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5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352442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9970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5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736052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502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6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572284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385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568637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75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6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281104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862763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40087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908107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207675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415413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773023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380674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950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4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5031718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7839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4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077192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888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4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4169852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48420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554750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57755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2031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94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2120595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544481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799178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241854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72360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5298790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4712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900726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679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3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6665815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65072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224724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70595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290344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36980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93262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258986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234834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2212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2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3126787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987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989233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371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563324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5166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5567420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634196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869594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221946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0769571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4021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9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644444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355824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1831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9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394477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241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0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11999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0331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833474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397256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374019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390925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9369166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4551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3730293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5194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7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038862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245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624585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505257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5185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740477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807223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74811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09584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45326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1890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4006777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149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795616"/>
      </p:ext>
    </p:extLst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338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6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2956511"/>
      </p:ext>
    </p:extLst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8754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7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255834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4610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59952" y="6583680"/>
            <a:ext cx="384048" cy="292608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AAAAAA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9E60C4C-C58F-A640-AA0B-3CEA46C9991F}" type="slidenum">
              <a:rPr lang="en-US" smtClean="0">
                <a:latin typeface="Arial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latin typeface="Arial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1713" y="6458783"/>
            <a:ext cx="8072375" cy="376053"/>
          </a:xfrm>
          <a:prstGeom prst="rect">
            <a:avLst/>
          </a:prstGeom>
        </p:spPr>
        <p:txBody>
          <a:bodyPr anchor="b"/>
          <a:lstStyle>
            <a:lvl1pPr>
              <a:defRPr sz="1000">
                <a:solidFill>
                  <a:srgbClr val="AAAAAA"/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latin typeface="Arial"/>
              </a:rPr>
              <a:t>Footnote</a:t>
            </a:r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652567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113713" y="-7938"/>
            <a:ext cx="750887" cy="27622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65760" y="6183868"/>
            <a:ext cx="8412480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000000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latin typeface="Arial"/>
              </a:rPr>
              <a:t>2014 FSG</a:t>
            </a:r>
            <a:endParaRPr lang="en-US" sz="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71415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560732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582136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0975779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44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5243653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9052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447523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161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5682650"/>
      </p:ext>
    </p:extLst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897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861738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630749"/>
      </p:ext>
    </p:extLst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82530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9329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8804162" y="6629400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490723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236856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263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7429391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175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494969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6663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210146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8511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936833"/>
      </p:ext>
    </p:extLst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581492"/>
      </p:ext>
    </p:extLst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573991"/>
      </p:ext>
    </p:extLst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517445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727707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60554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2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16981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4242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52400" y="119418"/>
            <a:ext cx="8328546" cy="794982"/>
          </a:xfrm>
          <a:prstGeom prst="rect">
            <a:avLst/>
          </a:prstGeom>
        </p:spPr>
        <p:txBody>
          <a:bodyPr anchor="ctr"/>
          <a:lstStyle>
            <a:lvl1pPr>
              <a:defRPr lang="en-US" sz="2400" b="1" kern="1200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7488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5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647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2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037482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4081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695209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7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61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383101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7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332008"/>
      </p:ext>
    </p:extLst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7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617054"/>
      </p:ext>
    </p:extLst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975492"/>
      </p:ext>
    </p:extLst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476712"/>
      </p:ext>
    </p:extLst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30153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7037152"/>
      </p:ext>
    </p:extLst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6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2850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1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491603"/>
      </p:ext>
    </p:extLst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1693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4143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New FSG Layout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8656825" y="6586827"/>
            <a:ext cx="4333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9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0266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8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6294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2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188812"/>
      </p:ext>
    </p:extLst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8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468465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8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714830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204004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9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998305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7740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462358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7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1007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63960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748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8456964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9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787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755273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9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2342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4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8310118" y="-133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24579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9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571718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906829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0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0624045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0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59502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7836622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8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9771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938993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27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9069073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0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3318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260236"/>
      </p:ext>
    </p:extLst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0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788492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0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055012"/>
      </p:ext>
    </p:extLst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09712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psf\Host\Volumes\johbee\Documents\01_Freelance_Design\INTERBRAND\Humana\exports\template_fix_and_tutorial\slide_LifeBox_300-green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97033"/>
            <a:ext cx="8695962" cy="121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4963"/>
            <a:ext cx="8229600" cy="4422775"/>
          </a:xfrm>
          <a:prstGeom prst="rect">
            <a:avLst/>
          </a:prstGeom>
        </p:spPr>
        <p:txBody>
          <a:bodyPr lIns="0" tIns="0" rIns="0" bIns="0"/>
          <a:lstStyle>
            <a:lvl1pPr marL="227013" indent="-227013">
              <a:defRPr>
                <a:solidFill>
                  <a:schemeClr val="tx1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800"/>
              </a:spcAft>
              <a:buFont typeface="BentonSansF Book" pitchFamily="50" charset="0"/>
              <a:buChar char="–"/>
              <a:defRPr/>
            </a:lvl2pPr>
            <a:lvl3pPr marL="685800" indent="-215900">
              <a:spcBef>
                <a:spcPts val="0"/>
              </a:spcBef>
              <a:spcAft>
                <a:spcPts val="800"/>
              </a:spcAft>
              <a:defRPr/>
            </a:lvl3pPr>
            <a:lvl4pPr marL="914400" indent="-228600">
              <a:defRPr/>
            </a:lvl4pPr>
            <a:lvl5pPr marL="1143000" indent="-230188">
              <a:defRPr sz="1400"/>
            </a:lvl5pPr>
            <a:lvl6pPr marL="1143000" indent="-228600">
              <a:spcBef>
                <a:spcPts val="960"/>
              </a:spcBef>
              <a:buClr>
                <a:schemeClr val="bg2"/>
              </a:buClr>
              <a:buSzPct val="80000"/>
              <a:buFont typeface="Arial" pitchFamily="34" charset="0"/>
              <a:buChar char="•"/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8305800" y="6342212"/>
            <a:ext cx="381000" cy="244475"/>
          </a:xfrm>
          <a:prstGeom prst="rect">
            <a:avLst/>
          </a:prstGeom>
        </p:spPr>
        <p:txBody>
          <a:bodyPr/>
          <a:lstStyle/>
          <a:p>
            <a:fld id="{485C39CC-EE39-D443-B36F-C90C146C805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6617370"/>
            <a:ext cx="4114799" cy="2132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Insert form number via Header and Footer option or delete, if not neede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12800" y="338668"/>
            <a:ext cx="7873999" cy="1003115"/>
          </a:xfrm>
          <a:prstGeom prst="rect">
            <a:avLst/>
          </a:prstGeo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4025" y="6148388"/>
            <a:ext cx="823277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hum_rgb_pos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10" y="6245225"/>
            <a:ext cx="1061426" cy="33655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5486400" y="6338276"/>
            <a:ext cx="2819400" cy="243922"/>
          </a:xfrm>
          <a:prstGeom prst="rect">
            <a:avLst/>
          </a:prstGeom>
        </p:spPr>
        <p:txBody>
          <a:bodyPr/>
          <a:lstStyle/>
          <a:p>
            <a:fld id="{FC565E02-29FD-4046-8756-93D603BE4A93}" type="datetime1">
              <a:rPr lang="en-US" smtClean="0">
                <a:solidFill>
                  <a:prstClr val="black"/>
                </a:solidFill>
              </a:rPr>
              <a:pPr/>
              <a:t>10/31/20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47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1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8735682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1976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3177375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9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2034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8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3101883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7727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6296453"/>
      </p:ext>
    </p:extLst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1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951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997454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616724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49293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713471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2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689714"/>
      </p:ext>
    </p:extLst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5241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1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00190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8113713" y="-19050"/>
            <a:ext cx="750887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FFFFFF"/>
                </a:solidFill>
              </a:rPr>
              <a:t>FSG.ORG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8668708" y="6462497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70240">
                    <a:lumMod val="75000"/>
                  </a:srgbClr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srgbClr val="A70240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srgbClr val="A70240">
                    <a:lumMod val="75000"/>
                  </a:srgbClr>
                </a:solidFill>
                <a:latin typeface="Arial"/>
              </a:rPr>
              <a:t>2013 </a:t>
            </a:r>
            <a:r>
              <a:rPr lang="en-US" sz="600" dirty="0">
                <a:solidFill>
                  <a:srgbClr val="A70240">
                    <a:lumMod val="75000"/>
                  </a:srgbClr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10121792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0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288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1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207745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2533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3581995"/>
      </p:ext>
    </p:extLst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2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04861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62007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2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5895826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66036"/>
      </p:ext>
    </p:extLst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069145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3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4229080"/>
      </p:ext>
    </p:extLst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3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588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5440420"/>
      </p:ext>
    </p:extLst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1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5501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407440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9370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1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56550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0" y="6675120"/>
            <a:ext cx="9144000" cy="18288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8310118" y="-630"/>
            <a:ext cx="83388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r"/>
            <a:r>
              <a:rPr lang="en-US" sz="1100" b="1" dirty="0">
                <a:solidFill>
                  <a:srgbClr val="FFFFFF"/>
                </a:solidFill>
                <a:latin typeface="Arial"/>
              </a:rPr>
              <a:t>FSG.ORG</a:t>
            </a:r>
            <a:endParaRPr lang="en-US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prstClr val="white"/>
                </a:solidFill>
                <a:latin typeface="Arial"/>
              </a:rPr>
              <a:pPr algn="ctr" eaLnBrk="0" hangingPunct="0"/>
              <a:t>‹#›</a:t>
            </a:fld>
            <a:endParaRPr lang="en-US" sz="1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prstClr val="white"/>
                </a:solidFill>
                <a:latin typeface="Arial"/>
              </a:rPr>
              <a:t>© </a:t>
            </a:r>
            <a:r>
              <a:rPr lang="en-US" sz="600" dirty="0" smtClean="0">
                <a:solidFill>
                  <a:prstClr val="white"/>
                </a:solidFill>
                <a:latin typeface="Arial"/>
              </a:rPr>
              <a:t>2012 </a:t>
            </a:r>
            <a:r>
              <a:rPr lang="en-US" sz="600" dirty="0">
                <a:solidFill>
                  <a:prstClr val="white"/>
                </a:solidFill>
                <a:latin typeface="Arial"/>
              </a:rPr>
              <a:t>FSG</a:t>
            </a:r>
          </a:p>
        </p:txBody>
      </p:sp>
    </p:spTree>
    <p:extLst>
      <p:ext uri="{BB962C8B-B14F-4D97-AF65-F5344CB8AC3E}">
        <p14:creationId xmlns:p14="http://schemas.microsoft.com/office/powerpoint/2010/main" val="22579218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3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5943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051293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3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35335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229257"/>
      </p:ext>
    </p:extLst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013243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4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087625"/>
      </p:ext>
    </p:extLst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867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7354916"/>
      </p:ext>
    </p:extLst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2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45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997372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013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0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5750946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4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648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780052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4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58354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14409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4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925381"/>
      </p:ext>
    </p:extLst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256628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5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116027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5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74003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6313781"/>
      </p:ext>
    </p:extLst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3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2893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60788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5045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9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220037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5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6696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916682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5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025956"/>
      </p:ext>
    </p:extLst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5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810317"/>
      </p:ext>
    </p:extLst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722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03007"/>
            <a:ext cx="9144000" cy="3051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598889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6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  <p:pic>
        <p:nvPicPr>
          <p:cNvPr id="10" name="Picture 2" descr="Team Hands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36850"/>
            <a:ext cx="9143999" cy="29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1069715"/>
      </p:ext>
    </p:extLst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6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9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300609"/>
      </p:ext>
    </p:extLst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4_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5682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105213"/>
      </p:ext>
    </p:extLst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6522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4705893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6_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0207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8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869110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6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76161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6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020038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5AA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243129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7_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666343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7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5686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6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77714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671" Type="http://schemas.openxmlformats.org/officeDocument/2006/relationships/slideLayout" Target="../slideLayouts/slideLayout671.xml"/><Relationship Id="rId769" Type="http://schemas.openxmlformats.org/officeDocument/2006/relationships/slideLayout" Target="../slideLayouts/slideLayout769.xml"/><Relationship Id="rId976" Type="http://schemas.openxmlformats.org/officeDocument/2006/relationships/slideLayout" Target="../slideLayouts/slideLayout976.xml"/><Relationship Id="rId21" Type="http://schemas.openxmlformats.org/officeDocument/2006/relationships/slideLayout" Target="../slideLayouts/slideLayout21.xml"/><Relationship Id="rId324" Type="http://schemas.openxmlformats.org/officeDocument/2006/relationships/slideLayout" Target="../slideLayouts/slideLayout324.xml"/><Relationship Id="rId531" Type="http://schemas.openxmlformats.org/officeDocument/2006/relationships/slideLayout" Target="../slideLayouts/slideLayout531.xml"/><Relationship Id="rId629" Type="http://schemas.openxmlformats.org/officeDocument/2006/relationships/slideLayout" Target="../slideLayouts/slideLayout629.xml"/><Relationship Id="rId170" Type="http://schemas.openxmlformats.org/officeDocument/2006/relationships/slideLayout" Target="../slideLayouts/slideLayout170.xml"/><Relationship Id="rId836" Type="http://schemas.openxmlformats.org/officeDocument/2006/relationships/slideLayout" Target="../slideLayouts/slideLayout836.xml"/><Relationship Id="rId1021" Type="http://schemas.openxmlformats.org/officeDocument/2006/relationships/slideLayout" Target="../slideLayouts/slideLayout1021.xml"/><Relationship Id="rId268" Type="http://schemas.openxmlformats.org/officeDocument/2006/relationships/slideLayout" Target="../slideLayouts/slideLayout268.xml"/><Relationship Id="rId475" Type="http://schemas.openxmlformats.org/officeDocument/2006/relationships/slideLayout" Target="../slideLayouts/slideLayout475.xml"/><Relationship Id="rId682" Type="http://schemas.openxmlformats.org/officeDocument/2006/relationships/slideLayout" Target="../slideLayouts/slideLayout682.xml"/><Relationship Id="rId903" Type="http://schemas.openxmlformats.org/officeDocument/2006/relationships/slideLayout" Target="../slideLayouts/slideLayout903.xml"/><Relationship Id="rId32" Type="http://schemas.openxmlformats.org/officeDocument/2006/relationships/slideLayout" Target="../slideLayouts/slideLayout32.xml"/><Relationship Id="rId128" Type="http://schemas.openxmlformats.org/officeDocument/2006/relationships/slideLayout" Target="../slideLayouts/slideLayout128.xml"/><Relationship Id="rId335" Type="http://schemas.openxmlformats.org/officeDocument/2006/relationships/slideLayout" Target="../slideLayouts/slideLayout335.xml"/><Relationship Id="rId542" Type="http://schemas.openxmlformats.org/officeDocument/2006/relationships/slideLayout" Target="../slideLayouts/slideLayout542.xml"/><Relationship Id="rId987" Type="http://schemas.openxmlformats.org/officeDocument/2006/relationships/slideLayout" Target="../slideLayouts/slideLayout987.xml"/><Relationship Id="rId181" Type="http://schemas.openxmlformats.org/officeDocument/2006/relationships/slideLayout" Target="../slideLayouts/slideLayout181.xml"/><Relationship Id="rId402" Type="http://schemas.openxmlformats.org/officeDocument/2006/relationships/slideLayout" Target="../slideLayouts/slideLayout402.xml"/><Relationship Id="rId847" Type="http://schemas.openxmlformats.org/officeDocument/2006/relationships/slideLayout" Target="../slideLayouts/slideLayout847.xml"/><Relationship Id="rId279" Type="http://schemas.openxmlformats.org/officeDocument/2006/relationships/slideLayout" Target="../slideLayouts/slideLayout279.xml"/><Relationship Id="rId486" Type="http://schemas.openxmlformats.org/officeDocument/2006/relationships/slideLayout" Target="../slideLayouts/slideLayout486.xml"/><Relationship Id="rId693" Type="http://schemas.openxmlformats.org/officeDocument/2006/relationships/slideLayout" Target="../slideLayouts/slideLayout693.xml"/><Relationship Id="rId707" Type="http://schemas.openxmlformats.org/officeDocument/2006/relationships/slideLayout" Target="../slideLayouts/slideLayout707.xml"/><Relationship Id="rId914" Type="http://schemas.openxmlformats.org/officeDocument/2006/relationships/slideLayout" Target="../slideLayouts/slideLayout914.xml"/><Relationship Id="rId43" Type="http://schemas.openxmlformats.org/officeDocument/2006/relationships/slideLayout" Target="../slideLayouts/slideLayout43.xml"/><Relationship Id="rId139" Type="http://schemas.openxmlformats.org/officeDocument/2006/relationships/slideLayout" Target="../slideLayouts/slideLayout139.xml"/><Relationship Id="rId346" Type="http://schemas.openxmlformats.org/officeDocument/2006/relationships/slideLayout" Target="../slideLayouts/slideLayout346.xml"/><Relationship Id="rId553" Type="http://schemas.openxmlformats.org/officeDocument/2006/relationships/slideLayout" Target="../slideLayouts/slideLayout553.xml"/><Relationship Id="rId760" Type="http://schemas.openxmlformats.org/officeDocument/2006/relationships/slideLayout" Target="../slideLayouts/slideLayout760.xml"/><Relationship Id="rId998" Type="http://schemas.openxmlformats.org/officeDocument/2006/relationships/slideLayout" Target="../slideLayouts/slideLayout998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413" Type="http://schemas.openxmlformats.org/officeDocument/2006/relationships/slideLayout" Target="../slideLayouts/slideLayout413.xml"/><Relationship Id="rId858" Type="http://schemas.openxmlformats.org/officeDocument/2006/relationships/slideLayout" Target="../slideLayouts/slideLayout858.xml"/><Relationship Id="rId497" Type="http://schemas.openxmlformats.org/officeDocument/2006/relationships/slideLayout" Target="../slideLayouts/slideLayout497.xml"/><Relationship Id="rId620" Type="http://schemas.openxmlformats.org/officeDocument/2006/relationships/slideLayout" Target="../slideLayouts/slideLayout620.xml"/><Relationship Id="rId718" Type="http://schemas.openxmlformats.org/officeDocument/2006/relationships/slideLayout" Target="../slideLayouts/slideLayout718.xml"/><Relationship Id="rId925" Type="http://schemas.openxmlformats.org/officeDocument/2006/relationships/slideLayout" Target="../slideLayouts/slideLayout925.xml"/><Relationship Id="rId357" Type="http://schemas.openxmlformats.org/officeDocument/2006/relationships/slideLayout" Target="../slideLayouts/slideLayout357.xml"/><Relationship Id="rId54" Type="http://schemas.openxmlformats.org/officeDocument/2006/relationships/slideLayout" Target="../slideLayouts/slideLayout54.xml"/><Relationship Id="rId217" Type="http://schemas.openxmlformats.org/officeDocument/2006/relationships/slideLayout" Target="../slideLayouts/slideLayout217.xml"/><Relationship Id="rId564" Type="http://schemas.openxmlformats.org/officeDocument/2006/relationships/slideLayout" Target="../slideLayouts/slideLayout564.xml"/><Relationship Id="rId771" Type="http://schemas.openxmlformats.org/officeDocument/2006/relationships/slideLayout" Target="../slideLayouts/slideLayout771.xml"/><Relationship Id="rId869" Type="http://schemas.openxmlformats.org/officeDocument/2006/relationships/slideLayout" Target="../slideLayouts/slideLayout869.xml"/><Relationship Id="rId424" Type="http://schemas.openxmlformats.org/officeDocument/2006/relationships/slideLayout" Target="../slideLayouts/slideLayout424.xml"/><Relationship Id="rId631" Type="http://schemas.openxmlformats.org/officeDocument/2006/relationships/slideLayout" Target="../slideLayouts/slideLayout631.xml"/><Relationship Id="rId729" Type="http://schemas.openxmlformats.org/officeDocument/2006/relationships/slideLayout" Target="../slideLayouts/slideLayout729.xml"/><Relationship Id="rId270" Type="http://schemas.openxmlformats.org/officeDocument/2006/relationships/slideLayout" Target="../slideLayouts/slideLayout270.xml"/><Relationship Id="rId936" Type="http://schemas.openxmlformats.org/officeDocument/2006/relationships/slideLayout" Target="../slideLayouts/slideLayout936.xml"/><Relationship Id="rId65" Type="http://schemas.openxmlformats.org/officeDocument/2006/relationships/slideLayout" Target="../slideLayouts/slideLayout65.xml"/><Relationship Id="rId130" Type="http://schemas.openxmlformats.org/officeDocument/2006/relationships/slideLayout" Target="../slideLayouts/slideLayout130.xml"/><Relationship Id="rId368" Type="http://schemas.openxmlformats.org/officeDocument/2006/relationships/slideLayout" Target="../slideLayouts/slideLayout368.xml"/><Relationship Id="rId575" Type="http://schemas.openxmlformats.org/officeDocument/2006/relationships/slideLayout" Target="../slideLayouts/slideLayout575.xml"/><Relationship Id="rId782" Type="http://schemas.openxmlformats.org/officeDocument/2006/relationships/slideLayout" Target="../slideLayouts/slideLayout782.xml"/><Relationship Id="rId228" Type="http://schemas.openxmlformats.org/officeDocument/2006/relationships/slideLayout" Target="../slideLayouts/slideLayout228.xml"/><Relationship Id="rId435" Type="http://schemas.openxmlformats.org/officeDocument/2006/relationships/slideLayout" Target="../slideLayouts/slideLayout435.xml"/><Relationship Id="rId642" Type="http://schemas.openxmlformats.org/officeDocument/2006/relationships/slideLayout" Target="../slideLayouts/slideLayout642.xml"/><Relationship Id="rId281" Type="http://schemas.openxmlformats.org/officeDocument/2006/relationships/slideLayout" Target="../slideLayouts/slideLayout281.xml"/><Relationship Id="rId502" Type="http://schemas.openxmlformats.org/officeDocument/2006/relationships/slideLayout" Target="../slideLayouts/slideLayout502.xml"/><Relationship Id="rId947" Type="http://schemas.openxmlformats.org/officeDocument/2006/relationships/slideLayout" Target="../slideLayouts/slideLayout947.xml"/><Relationship Id="rId76" Type="http://schemas.openxmlformats.org/officeDocument/2006/relationships/slideLayout" Target="../slideLayouts/slideLayout76.xml"/><Relationship Id="rId141" Type="http://schemas.openxmlformats.org/officeDocument/2006/relationships/slideLayout" Target="../slideLayouts/slideLayout141.xml"/><Relationship Id="rId379" Type="http://schemas.openxmlformats.org/officeDocument/2006/relationships/slideLayout" Target="../slideLayouts/slideLayout379.xml"/><Relationship Id="rId586" Type="http://schemas.openxmlformats.org/officeDocument/2006/relationships/slideLayout" Target="../slideLayouts/slideLayout586.xml"/><Relationship Id="rId793" Type="http://schemas.openxmlformats.org/officeDocument/2006/relationships/slideLayout" Target="../slideLayouts/slideLayout793.xml"/><Relationship Id="rId807" Type="http://schemas.openxmlformats.org/officeDocument/2006/relationships/slideLayout" Target="../slideLayouts/slideLayout807.xml"/><Relationship Id="rId7" Type="http://schemas.openxmlformats.org/officeDocument/2006/relationships/slideLayout" Target="../slideLayouts/slideLayout7.xml"/><Relationship Id="rId239" Type="http://schemas.openxmlformats.org/officeDocument/2006/relationships/slideLayout" Target="../slideLayouts/slideLayout239.xml"/><Relationship Id="rId446" Type="http://schemas.openxmlformats.org/officeDocument/2006/relationships/slideLayout" Target="../slideLayouts/slideLayout446.xml"/><Relationship Id="rId653" Type="http://schemas.openxmlformats.org/officeDocument/2006/relationships/slideLayout" Target="../slideLayouts/slideLayout653.xml"/><Relationship Id="rId292" Type="http://schemas.openxmlformats.org/officeDocument/2006/relationships/slideLayout" Target="../slideLayouts/slideLayout292.xml"/><Relationship Id="rId306" Type="http://schemas.openxmlformats.org/officeDocument/2006/relationships/slideLayout" Target="../slideLayouts/slideLayout306.xml"/><Relationship Id="rId860" Type="http://schemas.openxmlformats.org/officeDocument/2006/relationships/slideLayout" Target="../slideLayouts/slideLayout860.xml"/><Relationship Id="rId958" Type="http://schemas.openxmlformats.org/officeDocument/2006/relationships/slideLayout" Target="../slideLayouts/slideLayout958.xml"/><Relationship Id="rId87" Type="http://schemas.openxmlformats.org/officeDocument/2006/relationships/slideLayout" Target="../slideLayouts/slideLayout87.xml"/><Relationship Id="rId513" Type="http://schemas.openxmlformats.org/officeDocument/2006/relationships/slideLayout" Target="../slideLayouts/slideLayout513.xml"/><Relationship Id="rId597" Type="http://schemas.openxmlformats.org/officeDocument/2006/relationships/slideLayout" Target="../slideLayouts/slideLayout597.xml"/><Relationship Id="rId720" Type="http://schemas.openxmlformats.org/officeDocument/2006/relationships/slideLayout" Target="../slideLayouts/slideLayout720.xml"/><Relationship Id="rId818" Type="http://schemas.openxmlformats.org/officeDocument/2006/relationships/slideLayout" Target="../slideLayouts/slideLayout818.xml"/><Relationship Id="rId152" Type="http://schemas.openxmlformats.org/officeDocument/2006/relationships/slideLayout" Target="../slideLayouts/slideLayout152.xml"/><Relationship Id="rId457" Type="http://schemas.openxmlformats.org/officeDocument/2006/relationships/slideLayout" Target="../slideLayouts/slideLayout457.xml"/><Relationship Id="rId1003" Type="http://schemas.openxmlformats.org/officeDocument/2006/relationships/slideLayout" Target="../slideLayouts/slideLayout1003.xml"/><Relationship Id="rId664" Type="http://schemas.openxmlformats.org/officeDocument/2006/relationships/slideLayout" Target="../slideLayouts/slideLayout664.xml"/><Relationship Id="rId871" Type="http://schemas.openxmlformats.org/officeDocument/2006/relationships/slideLayout" Target="../slideLayouts/slideLayout871.xml"/><Relationship Id="rId969" Type="http://schemas.openxmlformats.org/officeDocument/2006/relationships/slideLayout" Target="../slideLayouts/slideLayout969.xml"/><Relationship Id="rId14" Type="http://schemas.openxmlformats.org/officeDocument/2006/relationships/slideLayout" Target="../slideLayouts/slideLayout14.xml"/><Relationship Id="rId317" Type="http://schemas.openxmlformats.org/officeDocument/2006/relationships/slideLayout" Target="../slideLayouts/slideLayout317.xml"/><Relationship Id="rId524" Type="http://schemas.openxmlformats.org/officeDocument/2006/relationships/slideLayout" Target="../slideLayouts/slideLayout524.xml"/><Relationship Id="rId731" Type="http://schemas.openxmlformats.org/officeDocument/2006/relationships/slideLayout" Target="../slideLayouts/slideLayout731.xml"/><Relationship Id="rId98" Type="http://schemas.openxmlformats.org/officeDocument/2006/relationships/slideLayout" Target="../slideLayouts/slideLayout98.xml"/><Relationship Id="rId163" Type="http://schemas.openxmlformats.org/officeDocument/2006/relationships/slideLayout" Target="../slideLayouts/slideLayout163.xml"/><Relationship Id="rId370" Type="http://schemas.openxmlformats.org/officeDocument/2006/relationships/slideLayout" Target="../slideLayouts/slideLayout370.xml"/><Relationship Id="rId829" Type="http://schemas.openxmlformats.org/officeDocument/2006/relationships/slideLayout" Target="../slideLayouts/slideLayout829.xml"/><Relationship Id="rId1014" Type="http://schemas.openxmlformats.org/officeDocument/2006/relationships/slideLayout" Target="../slideLayouts/slideLayout1014.xml"/><Relationship Id="rId230" Type="http://schemas.openxmlformats.org/officeDocument/2006/relationships/slideLayout" Target="../slideLayouts/slideLayout230.xml"/><Relationship Id="rId468" Type="http://schemas.openxmlformats.org/officeDocument/2006/relationships/slideLayout" Target="../slideLayouts/slideLayout468.xml"/><Relationship Id="rId675" Type="http://schemas.openxmlformats.org/officeDocument/2006/relationships/slideLayout" Target="../slideLayouts/slideLayout675.xml"/><Relationship Id="rId882" Type="http://schemas.openxmlformats.org/officeDocument/2006/relationships/slideLayout" Target="../slideLayouts/slideLayout882.xml"/><Relationship Id="rId25" Type="http://schemas.openxmlformats.org/officeDocument/2006/relationships/slideLayout" Target="../slideLayouts/slideLayout25.xml"/><Relationship Id="rId328" Type="http://schemas.openxmlformats.org/officeDocument/2006/relationships/slideLayout" Target="../slideLayouts/slideLayout328.xml"/><Relationship Id="rId535" Type="http://schemas.openxmlformats.org/officeDocument/2006/relationships/slideLayout" Target="../slideLayouts/slideLayout535.xml"/><Relationship Id="rId742" Type="http://schemas.openxmlformats.org/officeDocument/2006/relationships/slideLayout" Target="../slideLayouts/slideLayout742.xml"/><Relationship Id="rId174" Type="http://schemas.openxmlformats.org/officeDocument/2006/relationships/slideLayout" Target="../slideLayouts/slideLayout174.xml"/><Relationship Id="rId381" Type="http://schemas.openxmlformats.org/officeDocument/2006/relationships/slideLayout" Target="../slideLayouts/slideLayout381.xml"/><Relationship Id="rId602" Type="http://schemas.openxmlformats.org/officeDocument/2006/relationships/slideLayout" Target="../slideLayouts/slideLayout602.xml"/><Relationship Id="rId1025" Type="http://schemas.openxmlformats.org/officeDocument/2006/relationships/vmlDrawing" Target="../drawings/vmlDrawing1.vml"/><Relationship Id="rId241" Type="http://schemas.openxmlformats.org/officeDocument/2006/relationships/slideLayout" Target="../slideLayouts/slideLayout241.xml"/><Relationship Id="rId479" Type="http://schemas.openxmlformats.org/officeDocument/2006/relationships/slideLayout" Target="../slideLayouts/slideLayout479.xml"/><Relationship Id="rId686" Type="http://schemas.openxmlformats.org/officeDocument/2006/relationships/slideLayout" Target="../slideLayouts/slideLayout686.xml"/><Relationship Id="rId893" Type="http://schemas.openxmlformats.org/officeDocument/2006/relationships/slideLayout" Target="../slideLayouts/slideLayout893.xml"/><Relationship Id="rId907" Type="http://schemas.openxmlformats.org/officeDocument/2006/relationships/slideLayout" Target="../slideLayouts/slideLayout907.xml"/><Relationship Id="rId36" Type="http://schemas.openxmlformats.org/officeDocument/2006/relationships/slideLayout" Target="../slideLayouts/slideLayout36.xml"/><Relationship Id="rId339" Type="http://schemas.openxmlformats.org/officeDocument/2006/relationships/slideLayout" Target="../slideLayouts/slideLayout339.xml"/><Relationship Id="rId546" Type="http://schemas.openxmlformats.org/officeDocument/2006/relationships/slideLayout" Target="../slideLayouts/slideLayout546.xml"/><Relationship Id="rId753" Type="http://schemas.openxmlformats.org/officeDocument/2006/relationships/slideLayout" Target="../slideLayouts/slideLayout753.xml"/><Relationship Id="rId101" Type="http://schemas.openxmlformats.org/officeDocument/2006/relationships/slideLayout" Target="../slideLayouts/slideLayout101.xml"/><Relationship Id="rId185" Type="http://schemas.openxmlformats.org/officeDocument/2006/relationships/slideLayout" Target="../slideLayouts/slideLayout185.xml"/><Relationship Id="rId406" Type="http://schemas.openxmlformats.org/officeDocument/2006/relationships/slideLayout" Target="../slideLayouts/slideLayout406.xml"/><Relationship Id="rId960" Type="http://schemas.openxmlformats.org/officeDocument/2006/relationships/slideLayout" Target="../slideLayouts/slideLayout960.xml"/><Relationship Id="rId392" Type="http://schemas.openxmlformats.org/officeDocument/2006/relationships/slideLayout" Target="../slideLayouts/slideLayout392.xml"/><Relationship Id="rId613" Type="http://schemas.openxmlformats.org/officeDocument/2006/relationships/slideLayout" Target="../slideLayouts/slideLayout613.xml"/><Relationship Id="rId697" Type="http://schemas.openxmlformats.org/officeDocument/2006/relationships/slideLayout" Target="../slideLayouts/slideLayout697.xml"/><Relationship Id="rId820" Type="http://schemas.openxmlformats.org/officeDocument/2006/relationships/slideLayout" Target="../slideLayouts/slideLayout820.xml"/><Relationship Id="rId918" Type="http://schemas.openxmlformats.org/officeDocument/2006/relationships/slideLayout" Target="../slideLayouts/slideLayout918.xml"/><Relationship Id="rId252" Type="http://schemas.openxmlformats.org/officeDocument/2006/relationships/slideLayout" Target="../slideLayouts/slideLayout252.xml"/><Relationship Id="rId47" Type="http://schemas.openxmlformats.org/officeDocument/2006/relationships/slideLayout" Target="../slideLayouts/slideLayout47.xml"/><Relationship Id="rId112" Type="http://schemas.openxmlformats.org/officeDocument/2006/relationships/slideLayout" Target="../slideLayouts/slideLayout112.xml"/><Relationship Id="rId557" Type="http://schemas.openxmlformats.org/officeDocument/2006/relationships/slideLayout" Target="../slideLayouts/slideLayout557.xml"/><Relationship Id="rId764" Type="http://schemas.openxmlformats.org/officeDocument/2006/relationships/slideLayout" Target="../slideLayouts/slideLayout764.xml"/><Relationship Id="rId971" Type="http://schemas.openxmlformats.org/officeDocument/2006/relationships/slideLayout" Target="../slideLayouts/slideLayout971.xml"/><Relationship Id="rId196" Type="http://schemas.openxmlformats.org/officeDocument/2006/relationships/slideLayout" Target="../slideLayouts/slideLayout196.xml"/><Relationship Id="rId417" Type="http://schemas.openxmlformats.org/officeDocument/2006/relationships/slideLayout" Target="../slideLayouts/slideLayout417.xml"/><Relationship Id="rId624" Type="http://schemas.openxmlformats.org/officeDocument/2006/relationships/slideLayout" Target="../slideLayouts/slideLayout624.xml"/><Relationship Id="rId831" Type="http://schemas.openxmlformats.org/officeDocument/2006/relationships/slideLayout" Target="../slideLayouts/slideLayout831.xml"/><Relationship Id="rId263" Type="http://schemas.openxmlformats.org/officeDocument/2006/relationships/slideLayout" Target="../slideLayouts/slideLayout263.xml"/><Relationship Id="rId470" Type="http://schemas.openxmlformats.org/officeDocument/2006/relationships/slideLayout" Target="../slideLayouts/slideLayout470.xml"/><Relationship Id="rId929" Type="http://schemas.openxmlformats.org/officeDocument/2006/relationships/slideLayout" Target="../slideLayouts/slideLayout929.xml"/><Relationship Id="rId58" Type="http://schemas.openxmlformats.org/officeDocument/2006/relationships/slideLayout" Target="../slideLayouts/slideLayout58.xml"/><Relationship Id="rId123" Type="http://schemas.openxmlformats.org/officeDocument/2006/relationships/slideLayout" Target="../slideLayouts/slideLayout123.xml"/><Relationship Id="rId330" Type="http://schemas.openxmlformats.org/officeDocument/2006/relationships/slideLayout" Target="../slideLayouts/slideLayout330.xml"/><Relationship Id="rId568" Type="http://schemas.openxmlformats.org/officeDocument/2006/relationships/slideLayout" Target="../slideLayouts/slideLayout568.xml"/><Relationship Id="rId775" Type="http://schemas.openxmlformats.org/officeDocument/2006/relationships/slideLayout" Target="../slideLayouts/slideLayout775.xml"/><Relationship Id="rId982" Type="http://schemas.openxmlformats.org/officeDocument/2006/relationships/slideLayout" Target="../slideLayouts/slideLayout982.xml"/><Relationship Id="rId428" Type="http://schemas.openxmlformats.org/officeDocument/2006/relationships/slideLayout" Target="../slideLayouts/slideLayout428.xml"/><Relationship Id="rId635" Type="http://schemas.openxmlformats.org/officeDocument/2006/relationships/slideLayout" Target="../slideLayouts/slideLayout635.xml"/><Relationship Id="rId842" Type="http://schemas.openxmlformats.org/officeDocument/2006/relationships/slideLayout" Target="../slideLayouts/slideLayout842.xml"/><Relationship Id="rId274" Type="http://schemas.openxmlformats.org/officeDocument/2006/relationships/slideLayout" Target="../slideLayouts/slideLayout274.xml"/><Relationship Id="rId481" Type="http://schemas.openxmlformats.org/officeDocument/2006/relationships/slideLayout" Target="../slideLayouts/slideLayout481.xml"/><Relationship Id="rId702" Type="http://schemas.openxmlformats.org/officeDocument/2006/relationships/slideLayout" Target="../slideLayouts/slideLayout702.xml"/><Relationship Id="rId69" Type="http://schemas.openxmlformats.org/officeDocument/2006/relationships/slideLayout" Target="../slideLayouts/slideLayout69.xml"/><Relationship Id="rId134" Type="http://schemas.openxmlformats.org/officeDocument/2006/relationships/slideLayout" Target="../slideLayouts/slideLayout134.xml"/><Relationship Id="rId579" Type="http://schemas.openxmlformats.org/officeDocument/2006/relationships/slideLayout" Target="../slideLayouts/slideLayout579.xml"/><Relationship Id="rId786" Type="http://schemas.openxmlformats.org/officeDocument/2006/relationships/slideLayout" Target="../slideLayouts/slideLayout786.xml"/><Relationship Id="rId993" Type="http://schemas.openxmlformats.org/officeDocument/2006/relationships/slideLayout" Target="../slideLayouts/slideLayout993.xml"/><Relationship Id="rId341" Type="http://schemas.openxmlformats.org/officeDocument/2006/relationships/slideLayout" Target="../slideLayouts/slideLayout341.xml"/><Relationship Id="rId439" Type="http://schemas.openxmlformats.org/officeDocument/2006/relationships/slideLayout" Target="../slideLayouts/slideLayout439.xml"/><Relationship Id="rId646" Type="http://schemas.openxmlformats.org/officeDocument/2006/relationships/slideLayout" Target="../slideLayouts/slideLayout646.xml"/><Relationship Id="rId201" Type="http://schemas.openxmlformats.org/officeDocument/2006/relationships/slideLayout" Target="../slideLayouts/slideLayout201.xml"/><Relationship Id="rId285" Type="http://schemas.openxmlformats.org/officeDocument/2006/relationships/slideLayout" Target="../slideLayouts/slideLayout285.xml"/><Relationship Id="rId506" Type="http://schemas.openxmlformats.org/officeDocument/2006/relationships/slideLayout" Target="../slideLayouts/slideLayout506.xml"/><Relationship Id="rId853" Type="http://schemas.openxmlformats.org/officeDocument/2006/relationships/slideLayout" Target="../slideLayouts/slideLayout853.xml"/><Relationship Id="rId492" Type="http://schemas.openxmlformats.org/officeDocument/2006/relationships/slideLayout" Target="../slideLayouts/slideLayout492.xml"/><Relationship Id="rId713" Type="http://schemas.openxmlformats.org/officeDocument/2006/relationships/slideLayout" Target="../slideLayouts/slideLayout713.xml"/><Relationship Id="rId797" Type="http://schemas.openxmlformats.org/officeDocument/2006/relationships/slideLayout" Target="../slideLayouts/slideLayout797.xml"/><Relationship Id="rId920" Type="http://schemas.openxmlformats.org/officeDocument/2006/relationships/slideLayout" Target="../slideLayouts/slideLayout920.xml"/><Relationship Id="rId145" Type="http://schemas.openxmlformats.org/officeDocument/2006/relationships/slideLayout" Target="../slideLayouts/slideLayout145.xml"/><Relationship Id="rId352" Type="http://schemas.openxmlformats.org/officeDocument/2006/relationships/slideLayout" Target="../slideLayouts/slideLayout352.xml"/><Relationship Id="rId212" Type="http://schemas.openxmlformats.org/officeDocument/2006/relationships/slideLayout" Target="../slideLayouts/slideLayout212.xml"/><Relationship Id="rId254" Type="http://schemas.openxmlformats.org/officeDocument/2006/relationships/slideLayout" Target="../slideLayouts/slideLayout254.xml"/><Relationship Id="rId657" Type="http://schemas.openxmlformats.org/officeDocument/2006/relationships/slideLayout" Target="../slideLayouts/slideLayout657.xml"/><Relationship Id="rId699" Type="http://schemas.openxmlformats.org/officeDocument/2006/relationships/slideLayout" Target="../slideLayouts/slideLayout699.xml"/><Relationship Id="rId864" Type="http://schemas.openxmlformats.org/officeDocument/2006/relationships/slideLayout" Target="../slideLayouts/slideLayout864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96" Type="http://schemas.openxmlformats.org/officeDocument/2006/relationships/slideLayout" Target="../slideLayouts/slideLayout296.xml"/><Relationship Id="rId461" Type="http://schemas.openxmlformats.org/officeDocument/2006/relationships/slideLayout" Target="../slideLayouts/slideLayout461.xml"/><Relationship Id="rId517" Type="http://schemas.openxmlformats.org/officeDocument/2006/relationships/slideLayout" Target="../slideLayouts/slideLayout517.xml"/><Relationship Id="rId559" Type="http://schemas.openxmlformats.org/officeDocument/2006/relationships/slideLayout" Target="../slideLayouts/slideLayout559.xml"/><Relationship Id="rId724" Type="http://schemas.openxmlformats.org/officeDocument/2006/relationships/slideLayout" Target="../slideLayouts/slideLayout724.xml"/><Relationship Id="rId766" Type="http://schemas.openxmlformats.org/officeDocument/2006/relationships/slideLayout" Target="../slideLayouts/slideLayout766.xml"/><Relationship Id="rId931" Type="http://schemas.openxmlformats.org/officeDocument/2006/relationships/slideLayout" Target="../slideLayouts/slideLayout931.xml"/><Relationship Id="rId60" Type="http://schemas.openxmlformats.org/officeDocument/2006/relationships/slideLayout" Target="../slideLayouts/slideLayout60.xml"/><Relationship Id="rId156" Type="http://schemas.openxmlformats.org/officeDocument/2006/relationships/slideLayout" Target="../slideLayouts/slideLayout156.xml"/><Relationship Id="rId198" Type="http://schemas.openxmlformats.org/officeDocument/2006/relationships/slideLayout" Target="../slideLayouts/slideLayout198.xml"/><Relationship Id="rId321" Type="http://schemas.openxmlformats.org/officeDocument/2006/relationships/slideLayout" Target="../slideLayouts/slideLayout321.xml"/><Relationship Id="rId363" Type="http://schemas.openxmlformats.org/officeDocument/2006/relationships/slideLayout" Target="../slideLayouts/slideLayout363.xml"/><Relationship Id="rId419" Type="http://schemas.openxmlformats.org/officeDocument/2006/relationships/slideLayout" Target="../slideLayouts/slideLayout419.xml"/><Relationship Id="rId570" Type="http://schemas.openxmlformats.org/officeDocument/2006/relationships/slideLayout" Target="../slideLayouts/slideLayout570.xml"/><Relationship Id="rId626" Type="http://schemas.openxmlformats.org/officeDocument/2006/relationships/slideLayout" Target="../slideLayouts/slideLayout626.xml"/><Relationship Id="rId973" Type="http://schemas.openxmlformats.org/officeDocument/2006/relationships/slideLayout" Target="../slideLayouts/slideLayout973.xml"/><Relationship Id="rId1007" Type="http://schemas.openxmlformats.org/officeDocument/2006/relationships/slideLayout" Target="../slideLayouts/slideLayout1007.xml"/><Relationship Id="rId223" Type="http://schemas.openxmlformats.org/officeDocument/2006/relationships/slideLayout" Target="../slideLayouts/slideLayout223.xml"/><Relationship Id="rId430" Type="http://schemas.openxmlformats.org/officeDocument/2006/relationships/slideLayout" Target="../slideLayouts/slideLayout430.xml"/><Relationship Id="rId668" Type="http://schemas.openxmlformats.org/officeDocument/2006/relationships/slideLayout" Target="../slideLayouts/slideLayout668.xml"/><Relationship Id="rId833" Type="http://schemas.openxmlformats.org/officeDocument/2006/relationships/slideLayout" Target="../slideLayouts/slideLayout833.xml"/><Relationship Id="rId875" Type="http://schemas.openxmlformats.org/officeDocument/2006/relationships/slideLayout" Target="../slideLayouts/slideLayout875.xml"/><Relationship Id="rId18" Type="http://schemas.openxmlformats.org/officeDocument/2006/relationships/slideLayout" Target="../slideLayouts/slideLayout18.xml"/><Relationship Id="rId265" Type="http://schemas.openxmlformats.org/officeDocument/2006/relationships/slideLayout" Target="../slideLayouts/slideLayout265.xml"/><Relationship Id="rId472" Type="http://schemas.openxmlformats.org/officeDocument/2006/relationships/slideLayout" Target="../slideLayouts/slideLayout472.xml"/><Relationship Id="rId528" Type="http://schemas.openxmlformats.org/officeDocument/2006/relationships/slideLayout" Target="../slideLayouts/slideLayout528.xml"/><Relationship Id="rId735" Type="http://schemas.openxmlformats.org/officeDocument/2006/relationships/slideLayout" Target="../slideLayouts/slideLayout735.xml"/><Relationship Id="rId900" Type="http://schemas.openxmlformats.org/officeDocument/2006/relationships/slideLayout" Target="../slideLayouts/slideLayout900.xml"/><Relationship Id="rId942" Type="http://schemas.openxmlformats.org/officeDocument/2006/relationships/slideLayout" Target="../slideLayouts/slideLayout942.xml"/><Relationship Id="rId125" Type="http://schemas.openxmlformats.org/officeDocument/2006/relationships/slideLayout" Target="../slideLayouts/slideLayout125.xml"/><Relationship Id="rId167" Type="http://schemas.openxmlformats.org/officeDocument/2006/relationships/slideLayout" Target="../slideLayouts/slideLayout167.xml"/><Relationship Id="rId332" Type="http://schemas.openxmlformats.org/officeDocument/2006/relationships/slideLayout" Target="../slideLayouts/slideLayout332.xml"/><Relationship Id="rId374" Type="http://schemas.openxmlformats.org/officeDocument/2006/relationships/slideLayout" Target="../slideLayouts/slideLayout374.xml"/><Relationship Id="rId581" Type="http://schemas.openxmlformats.org/officeDocument/2006/relationships/slideLayout" Target="../slideLayouts/slideLayout581.xml"/><Relationship Id="rId777" Type="http://schemas.openxmlformats.org/officeDocument/2006/relationships/slideLayout" Target="../slideLayouts/slideLayout777.xml"/><Relationship Id="rId984" Type="http://schemas.openxmlformats.org/officeDocument/2006/relationships/slideLayout" Target="../slideLayouts/slideLayout984.xml"/><Relationship Id="rId1018" Type="http://schemas.openxmlformats.org/officeDocument/2006/relationships/slideLayout" Target="../slideLayouts/slideLayout1018.xml"/><Relationship Id="rId71" Type="http://schemas.openxmlformats.org/officeDocument/2006/relationships/slideLayout" Target="../slideLayouts/slideLayout71.xml"/><Relationship Id="rId234" Type="http://schemas.openxmlformats.org/officeDocument/2006/relationships/slideLayout" Target="../slideLayouts/slideLayout234.xml"/><Relationship Id="rId637" Type="http://schemas.openxmlformats.org/officeDocument/2006/relationships/slideLayout" Target="../slideLayouts/slideLayout637.xml"/><Relationship Id="rId679" Type="http://schemas.openxmlformats.org/officeDocument/2006/relationships/slideLayout" Target="../slideLayouts/slideLayout679.xml"/><Relationship Id="rId802" Type="http://schemas.openxmlformats.org/officeDocument/2006/relationships/slideLayout" Target="../slideLayouts/slideLayout802.xml"/><Relationship Id="rId844" Type="http://schemas.openxmlformats.org/officeDocument/2006/relationships/slideLayout" Target="../slideLayouts/slideLayout844.xml"/><Relationship Id="rId886" Type="http://schemas.openxmlformats.org/officeDocument/2006/relationships/slideLayout" Target="../slideLayouts/slideLayout886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76" Type="http://schemas.openxmlformats.org/officeDocument/2006/relationships/slideLayout" Target="../slideLayouts/slideLayout276.xml"/><Relationship Id="rId441" Type="http://schemas.openxmlformats.org/officeDocument/2006/relationships/slideLayout" Target="../slideLayouts/slideLayout441.xml"/><Relationship Id="rId483" Type="http://schemas.openxmlformats.org/officeDocument/2006/relationships/slideLayout" Target="../slideLayouts/slideLayout483.xml"/><Relationship Id="rId539" Type="http://schemas.openxmlformats.org/officeDocument/2006/relationships/slideLayout" Target="../slideLayouts/slideLayout539.xml"/><Relationship Id="rId690" Type="http://schemas.openxmlformats.org/officeDocument/2006/relationships/slideLayout" Target="../slideLayouts/slideLayout690.xml"/><Relationship Id="rId704" Type="http://schemas.openxmlformats.org/officeDocument/2006/relationships/slideLayout" Target="../slideLayouts/slideLayout704.xml"/><Relationship Id="rId746" Type="http://schemas.openxmlformats.org/officeDocument/2006/relationships/slideLayout" Target="../slideLayouts/slideLayout746.xml"/><Relationship Id="rId911" Type="http://schemas.openxmlformats.org/officeDocument/2006/relationships/slideLayout" Target="../slideLayouts/slideLayout911.xml"/><Relationship Id="rId40" Type="http://schemas.openxmlformats.org/officeDocument/2006/relationships/slideLayout" Target="../slideLayouts/slideLayout40.xml"/><Relationship Id="rId136" Type="http://schemas.openxmlformats.org/officeDocument/2006/relationships/slideLayout" Target="../slideLayouts/slideLayout136.xml"/><Relationship Id="rId178" Type="http://schemas.openxmlformats.org/officeDocument/2006/relationships/slideLayout" Target="../slideLayouts/slideLayout178.xml"/><Relationship Id="rId301" Type="http://schemas.openxmlformats.org/officeDocument/2006/relationships/slideLayout" Target="../slideLayouts/slideLayout301.xml"/><Relationship Id="rId343" Type="http://schemas.openxmlformats.org/officeDocument/2006/relationships/slideLayout" Target="../slideLayouts/slideLayout343.xml"/><Relationship Id="rId550" Type="http://schemas.openxmlformats.org/officeDocument/2006/relationships/slideLayout" Target="../slideLayouts/slideLayout550.xml"/><Relationship Id="rId788" Type="http://schemas.openxmlformats.org/officeDocument/2006/relationships/slideLayout" Target="../slideLayouts/slideLayout788.xml"/><Relationship Id="rId953" Type="http://schemas.openxmlformats.org/officeDocument/2006/relationships/slideLayout" Target="../slideLayouts/slideLayout953.xml"/><Relationship Id="rId995" Type="http://schemas.openxmlformats.org/officeDocument/2006/relationships/slideLayout" Target="../slideLayouts/slideLayout995.xml"/><Relationship Id="rId82" Type="http://schemas.openxmlformats.org/officeDocument/2006/relationships/slideLayout" Target="../slideLayouts/slideLayout82.xml"/><Relationship Id="rId203" Type="http://schemas.openxmlformats.org/officeDocument/2006/relationships/slideLayout" Target="../slideLayouts/slideLayout203.xml"/><Relationship Id="rId385" Type="http://schemas.openxmlformats.org/officeDocument/2006/relationships/slideLayout" Target="../slideLayouts/slideLayout385.xml"/><Relationship Id="rId592" Type="http://schemas.openxmlformats.org/officeDocument/2006/relationships/slideLayout" Target="../slideLayouts/slideLayout592.xml"/><Relationship Id="rId606" Type="http://schemas.openxmlformats.org/officeDocument/2006/relationships/slideLayout" Target="../slideLayouts/slideLayout606.xml"/><Relationship Id="rId648" Type="http://schemas.openxmlformats.org/officeDocument/2006/relationships/slideLayout" Target="../slideLayouts/slideLayout648.xml"/><Relationship Id="rId813" Type="http://schemas.openxmlformats.org/officeDocument/2006/relationships/slideLayout" Target="../slideLayouts/slideLayout813.xml"/><Relationship Id="rId855" Type="http://schemas.openxmlformats.org/officeDocument/2006/relationships/slideLayout" Target="../slideLayouts/slideLayout855.xml"/><Relationship Id="rId245" Type="http://schemas.openxmlformats.org/officeDocument/2006/relationships/slideLayout" Target="../slideLayouts/slideLayout245.xml"/><Relationship Id="rId287" Type="http://schemas.openxmlformats.org/officeDocument/2006/relationships/slideLayout" Target="../slideLayouts/slideLayout287.xml"/><Relationship Id="rId410" Type="http://schemas.openxmlformats.org/officeDocument/2006/relationships/slideLayout" Target="../slideLayouts/slideLayout410.xml"/><Relationship Id="rId452" Type="http://schemas.openxmlformats.org/officeDocument/2006/relationships/slideLayout" Target="../slideLayouts/slideLayout452.xml"/><Relationship Id="rId494" Type="http://schemas.openxmlformats.org/officeDocument/2006/relationships/slideLayout" Target="../slideLayouts/slideLayout494.xml"/><Relationship Id="rId508" Type="http://schemas.openxmlformats.org/officeDocument/2006/relationships/slideLayout" Target="../slideLayouts/slideLayout508.xml"/><Relationship Id="rId715" Type="http://schemas.openxmlformats.org/officeDocument/2006/relationships/slideLayout" Target="../slideLayouts/slideLayout715.xml"/><Relationship Id="rId897" Type="http://schemas.openxmlformats.org/officeDocument/2006/relationships/slideLayout" Target="../slideLayouts/slideLayout897.xml"/><Relationship Id="rId922" Type="http://schemas.openxmlformats.org/officeDocument/2006/relationships/slideLayout" Target="../slideLayouts/slideLayout922.xml"/><Relationship Id="rId105" Type="http://schemas.openxmlformats.org/officeDocument/2006/relationships/slideLayout" Target="../slideLayouts/slideLayout105.xml"/><Relationship Id="rId147" Type="http://schemas.openxmlformats.org/officeDocument/2006/relationships/slideLayout" Target="../slideLayouts/slideLayout147.xml"/><Relationship Id="rId312" Type="http://schemas.openxmlformats.org/officeDocument/2006/relationships/slideLayout" Target="../slideLayouts/slideLayout312.xml"/><Relationship Id="rId354" Type="http://schemas.openxmlformats.org/officeDocument/2006/relationships/slideLayout" Target="../slideLayouts/slideLayout354.xml"/><Relationship Id="rId757" Type="http://schemas.openxmlformats.org/officeDocument/2006/relationships/slideLayout" Target="../slideLayouts/slideLayout757.xml"/><Relationship Id="rId799" Type="http://schemas.openxmlformats.org/officeDocument/2006/relationships/slideLayout" Target="../slideLayouts/slideLayout799.xml"/><Relationship Id="rId964" Type="http://schemas.openxmlformats.org/officeDocument/2006/relationships/slideLayout" Target="../slideLayouts/slideLayout964.xml"/><Relationship Id="rId51" Type="http://schemas.openxmlformats.org/officeDocument/2006/relationships/slideLayout" Target="../slideLayouts/slideLayout51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96" Type="http://schemas.openxmlformats.org/officeDocument/2006/relationships/slideLayout" Target="../slideLayouts/slideLayout396.xml"/><Relationship Id="rId561" Type="http://schemas.openxmlformats.org/officeDocument/2006/relationships/slideLayout" Target="../slideLayouts/slideLayout561.xml"/><Relationship Id="rId617" Type="http://schemas.openxmlformats.org/officeDocument/2006/relationships/slideLayout" Target="../slideLayouts/slideLayout617.xml"/><Relationship Id="rId659" Type="http://schemas.openxmlformats.org/officeDocument/2006/relationships/slideLayout" Target="../slideLayouts/slideLayout659.xml"/><Relationship Id="rId824" Type="http://schemas.openxmlformats.org/officeDocument/2006/relationships/slideLayout" Target="../slideLayouts/slideLayout824.xml"/><Relationship Id="rId866" Type="http://schemas.openxmlformats.org/officeDocument/2006/relationships/slideLayout" Target="../slideLayouts/slideLayout866.xml"/><Relationship Id="rId214" Type="http://schemas.openxmlformats.org/officeDocument/2006/relationships/slideLayout" Target="../slideLayouts/slideLayout214.xml"/><Relationship Id="rId256" Type="http://schemas.openxmlformats.org/officeDocument/2006/relationships/slideLayout" Target="../slideLayouts/slideLayout256.xml"/><Relationship Id="rId298" Type="http://schemas.openxmlformats.org/officeDocument/2006/relationships/slideLayout" Target="../slideLayouts/slideLayout298.xml"/><Relationship Id="rId421" Type="http://schemas.openxmlformats.org/officeDocument/2006/relationships/slideLayout" Target="../slideLayouts/slideLayout421.xml"/><Relationship Id="rId463" Type="http://schemas.openxmlformats.org/officeDocument/2006/relationships/slideLayout" Target="../slideLayouts/slideLayout463.xml"/><Relationship Id="rId519" Type="http://schemas.openxmlformats.org/officeDocument/2006/relationships/slideLayout" Target="../slideLayouts/slideLayout519.xml"/><Relationship Id="rId670" Type="http://schemas.openxmlformats.org/officeDocument/2006/relationships/slideLayout" Target="../slideLayouts/slideLayout670.xml"/><Relationship Id="rId116" Type="http://schemas.openxmlformats.org/officeDocument/2006/relationships/slideLayout" Target="../slideLayouts/slideLayout116.xml"/><Relationship Id="rId158" Type="http://schemas.openxmlformats.org/officeDocument/2006/relationships/slideLayout" Target="../slideLayouts/slideLayout158.xml"/><Relationship Id="rId323" Type="http://schemas.openxmlformats.org/officeDocument/2006/relationships/slideLayout" Target="../slideLayouts/slideLayout323.xml"/><Relationship Id="rId530" Type="http://schemas.openxmlformats.org/officeDocument/2006/relationships/slideLayout" Target="../slideLayouts/slideLayout530.xml"/><Relationship Id="rId726" Type="http://schemas.openxmlformats.org/officeDocument/2006/relationships/slideLayout" Target="../slideLayouts/slideLayout726.xml"/><Relationship Id="rId768" Type="http://schemas.openxmlformats.org/officeDocument/2006/relationships/slideLayout" Target="../slideLayouts/slideLayout768.xml"/><Relationship Id="rId933" Type="http://schemas.openxmlformats.org/officeDocument/2006/relationships/slideLayout" Target="../slideLayouts/slideLayout933.xml"/><Relationship Id="rId975" Type="http://schemas.openxmlformats.org/officeDocument/2006/relationships/slideLayout" Target="../slideLayouts/slideLayout975.xml"/><Relationship Id="rId1009" Type="http://schemas.openxmlformats.org/officeDocument/2006/relationships/slideLayout" Target="../slideLayouts/slideLayout1009.xml"/><Relationship Id="rId20" Type="http://schemas.openxmlformats.org/officeDocument/2006/relationships/slideLayout" Target="../slideLayouts/slideLayout20.xml"/><Relationship Id="rId62" Type="http://schemas.openxmlformats.org/officeDocument/2006/relationships/slideLayout" Target="../slideLayouts/slideLayout62.xml"/><Relationship Id="rId365" Type="http://schemas.openxmlformats.org/officeDocument/2006/relationships/slideLayout" Target="../slideLayouts/slideLayout365.xml"/><Relationship Id="rId572" Type="http://schemas.openxmlformats.org/officeDocument/2006/relationships/slideLayout" Target="../slideLayouts/slideLayout572.xml"/><Relationship Id="rId628" Type="http://schemas.openxmlformats.org/officeDocument/2006/relationships/slideLayout" Target="../slideLayouts/slideLayout628.xml"/><Relationship Id="rId835" Type="http://schemas.openxmlformats.org/officeDocument/2006/relationships/slideLayout" Target="../slideLayouts/slideLayout835.xml"/><Relationship Id="rId225" Type="http://schemas.openxmlformats.org/officeDocument/2006/relationships/slideLayout" Target="../slideLayouts/slideLayout225.xml"/><Relationship Id="rId267" Type="http://schemas.openxmlformats.org/officeDocument/2006/relationships/slideLayout" Target="../slideLayouts/slideLayout267.xml"/><Relationship Id="rId432" Type="http://schemas.openxmlformats.org/officeDocument/2006/relationships/slideLayout" Target="../slideLayouts/slideLayout432.xml"/><Relationship Id="rId474" Type="http://schemas.openxmlformats.org/officeDocument/2006/relationships/slideLayout" Target="../slideLayouts/slideLayout474.xml"/><Relationship Id="rId877" Type="http://schemas.openxmlformats.org/officeDocument/2006/relationships/slideLayout" Target="../slideLayouts/slideLayout877.xml"/><Relationship Id="rId1020" Type="http://schemas.openxmlformats.org/officeDocument/2006/relationships/slideLayout" Target="../slideLayouts/slideLayout1020.xml"/><Relationship Id="rId127" Type="http://schemas.openxmlformats.org/officeDocument/2006/relationships/slideLayout" Target="../slideLayouts/slideLayout127.xml"/><Relationship Id="rId681" Type="http://schemas.openxmlformats.org/officeDocument/2006/relationships/slideLayout" Target="../slideLayouts/slideLayout681.xml"/><Relationship Id="rId737" Type="http://schemas.openxmlformats.org/officeDocument/2006/relationships/slideLayout" Target="../slideLayouts/slideLayout737.xml"/><Relationship Id="rId779" Type="http://schemas.openxmlformats.org/officeDocument/2006/relationships/slideLayout" Target="../slideLayouts/slideLayout779.xml"/><Relationship Id="rId902" Type="http://schemas.openxmlformats.org/officeDocument/2006/relationships/slideLayout" Target="../slideLayouts/slideLayout902.xml"/><Relationship Id="rId944" Type="http://schemas.openxmlformats.org/officeDocument/2006/relationships/slideLayout" Target="../slideLayouts/slideLayout944.xml"/><Relationship Id="rId986" Type="http://schemas.openxmlformats.org/officeDocument/2006/relationships/slideLayout" Target="../slideLayouts/slideLayout986.xml"/><Relationship Id="rId31" Type="http://schemas.openxmlformats.org/officeDocument/2006/relationships/slideLayout" Target="../slideLayouts/slideLayout31.xml"/><Relationship Id="rId73" Type="http://schemas.openxmlformats.org/officeDocument/2006/relationships/slideLayout" Target="../slideLayouts/slideLayout73.xml"/><Relationship Id="rId169" Type="http://schemas.openxmlformats.org/officeDocument/2006/relationships/slideLayout" Target="../slideLayouts/slideLayout169.xml"/><Relationship Id="rId334" Type="http://schemas.openxmlformats.org/officeDocument/2006/relationships/slideLayout" Target="../slideLayouts/slideLayout334.xml"/><Relationship Id="rId376" Type="http://schemas.openxmlformats.org/officeDocument/2006/relationships/slideLayout" Target="../slideLayouts/slideLayout376.xml"/><Relationship Id="rId541" Type="http://schemas.openxmlformats.org/officeDocument/2006/relationships/slideLayout" Target="../slideLayouts/slideLayout541.xml"/><Relationship Id="rId583" Type="http://schemas.openxmlformats.org/officeDocument/2006/relationships/slideLayout" Target="../slideLayouts/slideLayout583.xml"/><Relationship Id="rId639" Type="http://schemas.openxmlformats.org/officeDocument/2006/relationships/slideLayout" Target="../slideLayouts/slideLayout639.xml"/><Relationship Id="rId790" Type="http://schemas.openxmlformats.org/officeDocument/2006/relationships/slideLayout" Target="../slideLayouts/slideLayout790.xml"/><Relationship Id="rId804" Type="http://schemas.openxmlformats.org/officeDocument/2006/relationships/slideLayout" Target="../slideLayouts/slideLayout804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36" Type="http://schemas.openxmlformats.org/officeDocument/2006/relationships/slideLayout" Target="../slideLayouts/slideLayout236.xml"/><Relationship Id="rId278" Type="http://schemas.openxmlformats.org/officeDocument/2006/relationships/slideLayout" Target="../slideLayouts/slideLayout278.xml"/><Relationship Id="rId401" Type="http://schemas.openxmlformats.org/officeDocument/2006/relationships/slideLayout" Target="../slideLayouts/slideLayout401.xml"/><Relationship Id="rId443" Type="http://schemas.openxmlformats.org/officeDocument/2006/relationships/slideLayout" Target="../slideLayouts/slideLayout443.xml"/><Relationship Id="rId650" Type="http://schemas.openxmlformats.org/officeDocument/2006/relationships/slideLayout" Target="../slideLayouts/slideLayout650.xml"/><Relationship Id="rId846" Type="http://schemas.openxmlformats.org/officeDocument/2006/relationships/slideLayout" Target="../slideLayouts/slideLayout846.xml"/><Relationship Id="rId888" Type="http://schemas.openxmlformats.org/officeDocument/2006/relationships/slideLayout" Target="../slideLayouts/slideLayout888.xml"/><Relationship Id="rId303" Type="http://schemas.openxmlformats.org/officeDocument/2006/relationships/slideLayout" Target="../slideLayouts/slideLayout303.xml"/><Relationship Id="rId485" Type="http://schemas.openxmlformats.org/officeDocument/2006/relationships/slideLayout" Target="../slideLayouts/slideLayout485.xml"/><Relationship Id="rId692" Type="http://schemas.openxmlformats.org/officeDocument/2006/relationships/slideLayout" Target="../slideLayouts/slideLayout692.xml"/><Relationship Id="rId706" Type="http://schemas.openxmlformats.org/officeDocument/2006/relationships/slideLayout" Target="../slideLayouts/slideLayout706.xml"/><Relationship Id="rId748" Type="http://schemas.openxmlformats.org/officeDocument/2006/relationships/slideLayout" Target="../slideLayouts/slideLayout748.xml"/><Relationship Id="rId913" Type="http://schemas.openxmlformats.org/officeDocument/2006/relationships/slideLayout" Target="../slideLayouts/slideLayout913.xml"/><Relationship Id="rId955" Type="http://schemas.openxmlformats.org/officeDocument/2006/relationships/slideLayout" Target="../slideLayouts/slideLayout955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345" Type="http://schemas.openxmlformats.org/officeDocument/2006/relationships/slideLayout" Target="../slideLayouts/slideLayout345.xml"/><Relationship Id="rId387" Type="http://schemas.openxmlformats.org/officeDocument/2006/relationships/slideLayout" Target="../slideLayouts/slideLayout387.xml"/><Relationship Id="rId510" Type="http://schemas.openxmlformats.org/officeDocument/2006/relationships/slideLayout" Target="../slideLayouts/slideLayout510.xml"/><Relationship Id="rId552" Type="http://schemas.openxmlformats.org/officeDocument/2006/relationships/slideLayout" Target="../slideLayouts/slideLayout552.xml"/><Relationship Id="rId594" Type="http://schemas.openxmlformats.org/officeDocument/2006/relationships/slideLayout" Target="../slideLayouts/slideLayout594.xml"/><Relationship Id="rId608" Type="http://schemas.openxmlformats.org/officeDocument/2006/relationships/slideLayout" Target="../slideLayouts/slideLayout608.xml"/><Relationship Id="rId815" Type="http://schemas.openxmlformats.org/officeDocument/2006/relationships/slideLayout" Target="../slideLayouts/slideLayout815.xml"/><Relationship Id="rId997" Type="http://schemas.openxmlformats.org/officeDocument/2006/relationships/slideLayout" Target="../slideLayouts/slideLayout997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412" Type="http://schemas.openxmlformats.org/officeDocument/2006/relationships/slideLayout" Target="../slideLayouts/slideLayout412.xml"/><Relationship Id="rId857" Type="http://schemas.openxmlformats.org/officeDocument/2006/relationships/slideLayout" Target="../slideLayouts/slideLayout857.xml"/><Relationship Id="rId899" Type="http://schemas.openxmlformats.org/officeDocument/2006/relationships/slideLayout" Target="../slideLayouts/slideLayout899.xml"/><Relationship Id="rId1000" Type="http://schemas.openxmlformats.org/officeDocument/2006/relationships/slideLayout" Target="../slideLayouts/slideLayout1000.xml"/><Relationship Id="rId107" Type="http://schemas.openxmlformats.org/officeDocument/2006/relationships/slideLayout" Target="../slideLayouts/slideLayout107.xml"/><Relationship Id="rId289" Type="http://schemas.openxmlformats.org/officeDocument/2006/relationships/slideLayout" Target="../slideLayouts/slideLayout289.xml"/><Relationship Id="rId454" Type="http://schemas.openxmlformats.org/officeDocument/2006/relationships/slideLayout" Target="../slideLayouts/slideLayout454.xml"/><Relationship Id="rId496" Type="http://schemas.openxmlformats.org/officeDocument/2006/relationships/slideLayout" Target="../slideLayouts/slideLayout496.xml"/><Relationship Id="rId661" Type="http://schemas.openxmlformats.org/officeDocument/2006/relationships/slideLayout" Target="../slideLayouts/slideLayout661.xml"/><Relationship Id="rId717" Type="http://schemas.openxmlformats.org/officeDocument/2006/relationships/slideLayout" Target="../slideLayouts/slideLayout717.xml"/><Relationship Id="rId759" Type="http://schemas.openxmlformats.org/officeDocument/2006/relationships/slideLayout" Target="../slideLayouts/slideLayout759.xml"/><Relationship Id="rId924" Type="http://schemas.openxmlformats.org/officeDocument/2006/relationships/slideLayout" Target="../slideLayouts/slideLayout924.xml"/><Relationship Id="rId966" Type="http://schemas.openxmlformats.org/officeDocument/2006/relationships/slideLayout" Target="../slideLayouts/slideLayout966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Relationship Id="rId314" Type="http://schemas.openxmlformats.org/officeDocument/2006/relationships/slideLayout" Target="../slideLayouts/slideLayout314.xml"/><Relationship Id="rId356" Type="http://schemas.openxmlformats.org/officeDocument/2006/relationships/slideLayout" Target="../slideLayouts/slideLayout356.xml"/><Relationship Id="rId398" Type="http://schemas.openxmlformats.org/officeDocument/2006/relationships/slideLayout" Target="../slideLayouts/slideLayout398.xml"/><Relationship Id="rId521" Type="http://schemas.openxmlformats.org/officeDocument/2006/relationships/slideLayout" Target="../slideLayouts/slideLayout521.xml"/><Relationship Id="rId563" Type="http://schemas.openxmlformats.org/officeDocument/2006/relationships/slideLayout" Target="../slideLayouts/slideLayout563.xml"/><Relationship Id="rId619" Type="http://schemas.openxmlformats.org/officeDocument/2006/relationships/slideLayout" Target="../slideLayouts/slideLayout619.xml"/><Relationship Id="rId770" Type="http://schemas.openxmlformats.org/officeDocument/2006/relationships/slideLayout" Target="../slideLayouts/slideLayout770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16" Type="http://schemas.openxmlformats.org/officeDocument/2006/relationships/slideLayout" Target="../slideLayouts/slideLayout216.xml"/><Relationship Id="rId423" Type="http://schemas.openxmlformats.org/officeDocument/2006/relationships/slideLayout" Target="../slideLayouts/slideLayout423.xml"/><Relationship Id="rId826" Type="http://schemas.openxmlformats.org/officeDocument/2006/relationships/slideLayout" Target="../slideLayouts/slideLayout826.xml"/><Relationship Id="rId868" Type="http://schemas.openxmlformats.org/officeDocument/2006/relationships/slideLayout" Target="../slideLayouts/slideLayout868.xml"/><Relationship Id="rId1011" Type="http://schemas.openxmlformats.org/officeDocument/2006/relationships/slideLayout" Target="../slideLayouts/slideLayout1011.xml"/><Relationship Id="rId258" Type="http://schemas.openxmlformats.org/officeDocument/2006/relationships/slideLayout" Target="../slideLayouts/slideLayout258.xml"/><Relationship Id="rId465" Type="http://schemas.openxmlformats.org/officeDocument/2006/relationships/slideLayout" Target="../slideLayouts/slideLayout465.xml"/><Relationship Id="rId630" Type="http://schemas.openxmlformats.org/officeDocument/2006/relationships/slideLayout" Target="../slideLayouts/slideLayout630.xml"/><Relationship Id="rId672" Type="http://schemas.openxmlformats.org/officeDocument/2006/relationships/slideLayout" Target="../slideLayouts/slideLayout672.xml"/><Relationship Id="rId728" Type="http://schemas.openxmlformats.org/officeDocument/2006/relationships/slideLayout" Target="../slideLayouts/slideLayout728.xml"/><Relationship Id="rId935" Type="http://schemas.openxmlformats.org/officeDocument/2006/relationships/slideLayout" Target="../slideLayouts/slideLayout935.xml"/><Relationship Id="rId22" Type="http://schemas.openxmlformats.org/officeDocument/2006/relationships/slideLayout" Target="../slideLayouts/slideLayout22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325" Type="http://schemas.openxmlformats.org/officeDocument/2006/relationships/slideLayout" Target="../slideLayouts/slideLayout325.xml"/><Relationship Id="rId367" Type="http://schemas.openxmlformats.org/officeDocument/2006/relationships/slideLayout" Target="../slideLayouts/slideLayout367.xml"/><Relationship Id="rId532" Type="http://schemas.openxmlformats.org/officeDocument/2006/relationships/slideLayout" Target="../slideLayouts/slideLayout532.xml"/><Relationship Id="rId574" Type="http://schemas.openxmlformats.org/officeDocument/2006/relationships/slideLayout" Target="../slideLayouts/slideLayout574.xml"/><Relationship Id="rId977" Type="http://schemas.openxmlformats.org/officeDocument/2006/relationships/slideLayout" Target="../slideLayouts/slideLayout977.xml"/><Relationship Id="rId171" Type="http://schemas.openxmlformats.org/officeDocument/2006/relationships/slideLayout" Target="../slideLayouts/slideLayout171.xml"/><Relationship Id="rId227" Type="http://schemas.openxmlformats.org/officeDocument/2006/relationships/slideLayout" Target="../slideLayouts/slideLayout227.xml"/><Relationship Id="rId781" Type="http://schemas.openxmlformats.org/officeDocument/2006/relationships/slideLayout" Target="../slideLayouts/slideLayout781.xml"/><Relationship Id="rId837" Type="http://schemas.openxmlformats.org/officeDocument/2006/relationships/slideLayout" Target="../slideLayouts/slideLayout837.xml"/><Relationship Id="rId879" Type="http://schemas.openxmlformats.org/officeDocument/2006/relationships/slideLayout" Target="../slideLayouts/slideLayout879.xml"/><Relationship Id="rId1022" Type="http://schemas.openxmlformats.org/officeDocument/2006/relationships/slideLayout" Target="../slideLayouts/slideLayout1022.xml"/><Relationship Id="rId269" Type="http://schemas.openxmlformats.org/officeDocument/2006/relationships/slideLayout" Target="../slideLayouts/slideLayout269.xml"/><Relationship Id="rId434" Type="http://schemas.openxmlformats.org/officeDocument/2006/relationships/slideLayout" Target="../slideLayouts/slideLayout434.xml"/><Relationship Id="rId476" Type="http://schemas.openxmlformats.org/officeDocument/2006/relationships/slideLayout" Target="../slideLayouts/slideLayout476.xml"/><Relationship Id="rId641" Type="http://schemas.openxmlformats.org/officeDocument/2006/relationships/slideLayout" Target="../slideLayouts/slideLayout641.xml"/><Relationship Id="rId683" Type="http://schemas.openxmlformats.org/officeDocument/2006/relationships/slideLayout" Target="../slideLayouts/slideLayout683.xml"/><Relationship Id="rId739" Type="http://schemas.openxmlformats.org/officeDocument/2006/relationships/slideLayout" Target="../slideLayouts/slideLayout739.xml"/><Relationship Id="rId890" Type="http://schemas.openxmlformats.org/officeDocument/2006/relationships/slideLayout" Target="../slideLayouts/slideLayout890.xml"/><Relationship Id="rId904" Type="http://schemas.openxmlformats.org/officeDocument/2006/relationships/slideLayout" Target="../slideLayouts/slideLayout904.xml"/><Relationship Id="rId33" Type="http://schemas.openxmlformats.org/officeDocument/2006/relationships/slideLayout" Target="../slideLayouts/slideLayout33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336" Type="http://schemas.openxmlformats.org/officeDocument/2006/relationships/slideLayout" Target="../slideLayouts/slideLayout336.xml"/><Relationship Id="rId501" Type="http://schemas.openxmlformats.org/officeDocument/2006/relationships/slideLayout" Target="../slideLayouts/slideLayout501.xml"/><Relationship Id="rId543" Type="http://schemas.openxmlformats.org/officeDocument/2006/relationships/slideLayout" Target="../slideLayouts/slideLayout543.xml"/><Relationship Id="rId946" Type="http://schemas.openxmlformats.org/officeDocument/2006/relationships/slideLayout" Target="../slideLayouts/slideLayout946.xml"/><Relationship Id="rId988" Type="http://schemas.openxmlformats.org/officeDocument/2006/relationships/slideLayout" Target="../slideLayouts/slideLayout988.xml"/><Relationship Id="rId75" Type="http://schemas.openxmlformats.org/officeDocument/2006/relationships/slideLayout" Target="../slideLayouts/slideLayout75.xml"/><Relationship Id="rId140" Type="http://schemas.openxmlformats.org/officeDocument/2006/relationships/slideLayout" Target="../slideLayouts/slideLayout140.xml"/><Relationship Id="rId182" Type="http://schemas.openxmlformats.org/officeDocument/2006/relationships/slideLayout" Target="../slideLayouts/slideLayout182.xml"/><Relationship Id="rId378" Type="http://schemas.openxmlformats.org/officeDocument/2006/relationships/slideLayout" Target="../slideLayouts/slideLayout378.xml"/><Relationship Id="rId403" Type="http://schemas.openxmlformats.org/officeDocument/2006/relationships/slideLayout" Target="../slideLayouts/slideLayout403.xml"/><Relationship Id="rId585" Type="http://schemas.openxmlformats.org/officeDocument/2006/relationships/slideLayout" Target="../slideLayouts/slideLayout585.xml"/><Relationship Id="rId750" Type="http://schemas.openxmlformats.org/officeDocument/2006/relationships/slideLayout" Target="../slideLayouts/slideLayout750.xml"/><Relationship Id="rId792" Type="http://schemas.openxmlformats.org/officeDocument/2006/relationships/slideLayout" Target="../slideLayouts/slideLayout792.xml"/><Relationship Id="rId806" Type="http://schemas.openxmlformats.org/officeDocument/2006/relationships/slideLayout" Target="../slideLayouts/slideLayout806.xml"/><Relationship Id="rId848" Type="http://schemas.openxmlformats.org/officeDocument/2006/relationships/slideLayout" Target="../slideLayouts/slideLayout848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445" Type="http://schemas.openxmlformats.org/officeDocument/2006/relationships/slideLayout" Target="../slideLayouts/slideLayout445.xml"/><Relationship Id="rId487" Type="http://schemas.openxmlformats.org/officeDocument/2006/relationships/slideLayout" Target="../slideLayouts/slideLayout487.xml"/><Relationship Id="rId610" Type="http://schemas.openxmlformats.org/officeDocument/2006/relationships/slideLayout" Target="../slideLayouts/slideLayout610.xml"/><Relationship Id="rId652" Type="http://schemas.openxmlformats.org/officeDocument/2006/relationships/slideLayout" Target="../slideLayouts/slideLayout652.xml"/><Relationship Id="rId694" Type="http://schemas.openxmlformats.org/officeDocument/2006/relationships/slideLayout" Target="../slideLayouts/slideLayout694.xml"/><Relationship Id="rId708" Type="http://schemas.openxmlformats.org/officeDocument/2006/relationships/slideLayout" Target="../slideLayouts/slideLayout708.xml"/><Relationship Id="rId915" Type="http://schemas.openxmlformats.org/officeDocument/2006/relationships/slideLayout" Target="../slideLayouts/slideLayout915.xml"/><Relationship Id="rId291" Type="http://schemas.openxmlformats.org/officeDocument/2006/relationships/slideLayout" Target="../slideLayouts/slideLayout291.xml"/><Relationship Id="rId305" Type="http://schemas.openxmlformats.org/officeDocument/2006/relationships/slideLayout" Target="../slideLayouts/slideLayout305.xml"/><Relationship Id="rId347" Type="http://schemas.openxmlformats.org/officeDocument/2006/relationships/slideLayout" Target="../slideLayouts/slideLayout347.xml"/><Relationship Id="rId512" Type="http://schemas.openxmlformats.org/officeDocument/2006/relationships/slideLayout" Target="../slideLayouts/slideLayout512.xml"/><Relationship Id="rId957" Type="http://schemas.openxmlformats.org/officeDocument/2006/relationships/slideLayout" Target="../slideLayouts/slideLayout957.xml"/><Relationship Id="rId999" Type="http://schemas.openxmlformats.org/officeDocument/2006/relationships/slideLayout" Target="../slideLayouts/slideLayout999.xml"/><Relationship Id="rId44" Type="http://schemas.openxmlformats.org/officeDocument/2006/relationships/slideLayout" Target="../slideLayouts/slideLayout44.xml"/><Relationship Id="rId86" Type="http://schemas.openxmlformats.org/officeDocument/2006/relationships/slideLayout" Target="../slideLayouts/slideLayout86.xml"/><Relationship Id="rId151" Type="http://schemas.openxmlformats.org/officeDocument/2006/relationships/slideLayout" Target="../slideLayouts/slideLayout151.xml"/><Relationship Id="rId389" Type="http://schemas.openxmlformats.org/officeDocument/2006/relationships/slideLayout" Target="../slideLayouts/slideLayout389.xml"/><Relationship Id="rId554" Type="http://schemas.openxmlformats.org/officeDocument/2006/relationships/slideLayout" Target="../slideLayouts/slideLayout554.xml"/><Relationship Id="rId596" Type="http://schemas.openxmlformats.org/officeDocument/2006/relationships/slideLayout" Target="../slideLayouts/slideLayout596.xml"/><Relationship Id="rId761" Type="http://schemas.openxmlformats.org/officeDocument/2006/relationships/slideLayout" Target="../slideLayouts/slideLayout761.xml"/><Relationship Id="rId817" Type="http://schemas.openxmlformats.org/officeDocument/2006/relationships/slideLayout" Target="../slideLayouts/slideLayout817.xml"/><Relationship Id="rId859" Type="http://schemas.openxmlformats.org/officeDocument/2006/relationships/slideLayout" Target="../slideLayouts/slideLayout859.xml"/><Relationship Id="rId1002" Type="http://schemas.openxmlformats.org/officeDocument/2006/relationships/slideLayout" Target="../slideLayouts/slideLayout100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49" Type="http://schemas.openxmlformats.org/officeDocument/2006/relationships/slideLayout" Target="../slideLayouts/slideLayout249.xml"/><Relationship Id="rId414" Type="http://schemas.openxmlformats.org/officeDocument/2006/relationships/slideLayout" Target="../slideLayouts/slideLayout414.xml"/><Relationship Id="rId456" Type="http://schemas.openxmlformats.org/officeDocument/2006/relationships/slideLayout" Target="../slideLayouts/slideLayout456.xml"/><Relationship Id="rId498" Type="http://schemas.openxmlformats.org/officeDocument/2006/relationships/slideLayout" Target="../slideLayouts/slideLayout498.xml"/><Relationship Id="rId621" Type="http://schemas.openxmlformats.org/officeDocument/2006/relationships/slideLayout" Target="../slideLayouts/slideLayout621.xml"/><Relationship Id="rId663" Type="http://schemas.openxmlformats.org/officeDocument/2006/relationships/slideLayout" Target="../slideLayouts/slideLayout663.xml"/><Relationship Id="rId870" Type="http://schemas.openxmlformats.org/officeDocument/2006/relationships/slideLayout" Target="../slideLayouts/slideLayout870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16" Type="http://schemas.openxmlformats.org/officeDocument/2006/relationships/slideLayout" Target="../slideLayouts/slideLayout316.xml"/><Relationship Id="rId523" Type="http://schemas.openxmlformats.org/officeDocument/2006/relationships/slideLayout" Target="../slideLayouts/slideLayout523.xml"/><Relationship Id="rId719" Type="http://schemas.openxmlformats.org/officeDocument/2006/relationships/slideLayout" Target="../slideLayouts/slideLayout719.xml"/><Relationship Id="rId926" Type="http://schemas.openxmlformats.org/officeDocument/2006/relationships/slideLayout" Target="../slideLayouts/slideLayout926.xml"/><Relationship Id="rId968" Type="http://schemas.openxmlformats.org/officeDocument/2006/relationships/slideLayout" Target="../slideLayouts/slideLayout968.xml"/><Relationship Id="rId55" Type="http://schemas.openxmlformats.org/officeDocument/2006/relationships/slideLayout" Target="../slideLayouts/slideLayout55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358" Type="http://schemas.openxmlformats.org/officeDocument/2006/relationships/slideLayout" Target="../slideLayouts/slideLayout358.xml"/><Relationship Id="rId565" Type="http://schemas.openxmlformats.org/officeDocument/2006/relationships/slideLayout" Target="../slideLayouts/slideLayout565.xml"/><Relationship Id="rId730" Type="http://schemas.openxmlformats.org/officeDocument/2006/relationships/slideLayout" Target="../slideLayouts/slideLayout730.xml"/><Relationship Id="rId772" Type="http://schemas.openxmlformats.org/officeDocument/2006/relationships/slideLayout" Target="../slideLayouts/slideLayout772.xml"/><Relationship Id="rId828" Type="http://schemas.openxmlformats.org/officeDocument/2006/relationships/slideLayout" Target="../slideLayouts/slideLayout828.xml"/><Relationship Id="rId1013" Type="http://schemas.openxmlformats.org/officeDocument/2006/relationships/slideLayout" Target="../slideLayouts/slideLayout1013.xml"/><Relationship Id="rId162" Type="http://schemas.openxmlformats.org/officeDocument/2006/relationships/slideLayout" Target="../slideLayouts/slideLayout162.xml"/><Relationship Id="rId218" Type="http://schemas.openxmlformats.org/officeDocument/2006/relationships/slideLayout" Target="../slideLayouts/slideLayout218.xml"/><Relationship Id="rId425" Type="http://schemas.openxmlformats.org/officeDocument/2006/relationships/slideLayout" Target="../slideLayouts/slideLayout425.xml"/><Relationship Id="rId467" Type="http://schemas.openxmlformats.org/officeDocument/2006/relationships/slideLayout" Target="../slideLayouts/slideLayout467.xml"/><Relationship Id="rId632" Type="http://schemas.openxmlformats.org/officeDocument/2006/relationships/slideLayout" Target="../slideLayouts/slideLayout632.xml"/><Relationship Id="rId271" Type="http://schemas.openxmlformats.org/officeDocument/2006/relationships/slideLayout" Target="../slideLayouts/slideLayout271.xml"/><Relationship Id="rId674" Type="http://schemas.openxmlformats.org/officeDocument/2006/relationships/slideLayout" Target="../slideLayouts/slideLayout674.xml"/><Relationship Id="rId881" Type="http://schemas.openxmlformats.org/officeDocument/2006/relationships/slideLayout" Target="../slideLayouts/slideLayout881.xml"/><Relationship Id="rId937" Type="http://schemas.openxmlformats.org/officeDocument/2006/relationships/slideLayout" Target="../slideLayouts/slideLayout937.xml"/><Relationship Id="rId979" Type="http://schemas.openxmlformats.org/officeDocument/2006/relationships/slideLayout" Target="../slideLayouts/slideLayout979.xml"/><Relationship Id="rId24" Type="http://schemas.openxmlformats.org/officeDocument/2006/relationships/slideLayout" Target="../slideLayouts/slideLayout24.xml"/><Relationship Id="rId66" Type="http://schemas.openxmlformats.org/officeDocument/2006/relationships/slideLayout" Target="../slideLayouts/slideLayout66.xml"/><Relationship Id="rId131" Type="http://schemas.openxmlformats.org/officeDocument/2006/relationships/slideLayout" Target="../slideLayouts/slideLayout131.xml"/><Relationship Id="rId327" Type="http://schemas.openxmlformats.org/officeDocument/2006/relationships/slideLayout" Target="../slideLayouts/slideLayout327.xml"/><Relationship Id="rId369" Type="http://schemas.openxmlformats.org/officeDocument/2006/relationships/slideLayout" Target="../slideLayouts/slideLayout369.xml"/><Relationship Id="rId534" Type="http://schemas.openxmlformats.org/officeDocument/2006/relationships/slideLayout" Target="../slideLayouts/slideLayout534.xml"/><Relationship Id="rId576" Type="http://schemas.openxmlformats.org/officeDocument/2006/relationships/slideLayout" Target="../slideLayouts/slideLayout576.xml"/><Relationship Id="rId741" Type="http://schemas.openxmlformats.org/officeDocument/2006/relationships/slideLayout" Target="../slideLayouts/slideLayout741.xml"/><Relationship Id="rId783" Type="http://schemas.openxmlformats.org/officeDocument/2006/relationships/slideLayout" Target="../slideLayouts/slideLayout783.xml"/><Relationship Id="rId839" Type="http://schemas.openxmlformats.org/officeDocument/2006/relationships/slideLayout" Target="../slideLayouts/slideLayout839.xml"/><Relationship Id="rId990" Type="http://schemas.openxmlformats.org/officeDocument/2006/relationships/slideLayout" Target="../slideLayouts/slideLayout990.xml"/><Relationship Id="rId173" Type="http://schemas.openxmlformats.org/officeDocument/2006/relationships/slideLayout" Target="../slideLayouts/slideLayout173.xml"/><Relationship Id="rId229" Type="http://schemas.openxmlformats.org/officeDocument/2006/relationships/slideLayout" Target="../slideLayouts/slideLayout229.xml"/><Relationship Id="rId380" Type="http://schemas.openxmlformats.org/officeDocument/2006/relationships/slideLayout" Target="../slideLayouts/slideLayout380.xml"/><Relationship Id="rId436" Type="http://schemas.openxmlformats.org/officeDocument/2006/relationships/slideLayout" Target="../slideLayouts/slideLayout436.xml"/><Relationship Id="rId601" Type="http://schemas.openxmlformats.org/officeDocument/2006/relationships/slideLayout" Target="../slideLayouts/slideLayout601.xml"/><Relationship Id="rId643" Type="http://schemas.openxmlformats.org/officeDocument/2006/relationships/slideLayout" Target="../slideLayouts/slideLayout643.xml"/><Relationship Id="rId1024" Type="http://schemas.openxmlformats.org/officeDocument/2006/relationships/theme" Target="../theme/theme1.xml"/><Relationship Id="rId240" Type="http://schemas.openxmlformats.org/officeDocument/2006/relationships/slideLayout" Target="../slideLayouts/slideLayout240.xml"/><Relationship Id="rId478" Type="http://schemas.openxmlformats.org/officeDocument/2006/relationships/slideLayout" Target="../slideLayouts/slideLayout478.xml"/><Relationship Id="rId685" Type="http://schemas.openxmlformats.org/officeDocument/2006/relationships/slideLayout" Target="../slideLayouts/slideLayout685.xml"/><Relationship Id="rId850" Type="http://schemas.openxmlformats.org/officeDocument/2006/relationships/slideLayout" Target="../slideLayouts/slideLayout850.xml"/><Relationship Id="rId892" Type="http://schemas.openxmlformats.org/officeDocument/2006/relationships/slideLayout" Target="../slideLayouts/slideLayout892.xml"/><Relationship Id="rId906" Type="http://schemas.openxmlformats.org/officeDocument/2006/relationships/slideLayout" Target="../slideLayouts/slideLayout906.xml"/><Relationship Id="rId948" Type="http://schemas.openxmlformats.org/officeDocument/2006/relationships/slideLayout" Target="../slideLayouts/slideLayout948.xml"/><Relationship Id="rId35" Type="http://schemas.openxmlformats.org/officeDocument/2006/relationships/slideLayout" Target="../slideLayouts/slideLayout35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338" Type="http://schemas.openxmlformats.org/officeDocument/2006/relationships/slideLayout" Target="../slideLayouts/slideLayout338.xml"/><Relationship Id="rId503" Type="http://schemas.openxmlformats.org/officeDocument/2006/relationships/slideLayout" Target="../slideLayouts/slideLayout503.xml"/><Relationship Id="rId545" Type="http://schemas.openxmlformats.org/officeDocument/2006/relationships/slideLayout" Target="../slideLayouts/slideLayout545.xml"/><Relationship Id="rId587" Type="http://schemas.openxmlformats.org/officeDocument/2006/relationships/slideLayout" Target="../slideLayouts/slideLayout587.xml"/><Relationship Id="rId710" Type="http://schemas.openxmlformats.org/officeDocument/2006/relationships/slideLayout" Target="../slideLayouts/slideLayout710.xml"/><Relationship Id="rId752" Type="http://schemas.openxmlformats.org/officeDocument/2006/relationships/slideLayout" Target="../slideLayouts/slideLayout752.xml"/><Relationship Id="rId808" Type="http://schemas.openxmlformats.org/officeDocument/2006/relationships/slideLayout" Target="../slideLayouts/slideLayout808.xml"/><Relationship Id="rId8" Type="http://schemas.openxmlformats.org/officeDocument/2006/relationships/slideLayout" Target="../slideLayouts/slideLayout8.xml"/><Relationship Id="rId142" Type="http://schemas.openxmlformats.org/officeDocument/2006/relationships/slideLayout" Target="../slideLayouts/slideLayout142.xml"/><Relationship Id="rId184" Type="http://schemas.openxmlformats.org/officeDocument/2006/relationships/slideLayout" Target="../slideLayouts/slideLayout184.xml"/><Relationship Id="rId391" Type="http://schemas.openxmlformats.org/officeDocument/2006/relationships/slideLayout" Target="../slideLayouts/slideLayout391.xml"/><Relationship Id="rId405" Type="http://schemas.openxmlformats.org/officeDocument/2006/relationships/slideLayout" Target="../slideLayouts/slideLayout405.xml"/><Relationship Id="rId447" Type="http://schemas.openxmlformats.org/officeDocument/2006/relationships/slideLayout" Target="../slideLayouts/slideLayout447.xml"/><Relationship Id="rId612" Type="http://schemas.openxmlformats.org/officeDocument/2006/relationships/slideLayout" Target="../slideLayouts/slideLayout612.xml"/><Relationship Id="rId794" Type="http://schemas.openxmlformats.org/officeDocument/2006/relationships/slideLayout" Target="../slideLayouts/slideLayout794.xml"/><Relationship Id="rId251" Type="http://schemas.openxmlformats.org/officeDocument/2006/relationships/slideLayout" Target="../slideLayouts/slideLayout251.xml"/><Relationship Id="rId489" Type="http://schemas.openxmlformats.org/officeDocument/2006/relationships/slideLayout" Target="../slideLayouts/slideLayout489.xml"/><Relationship Id="rId654" Type="http://schemas.openxmlformats.org/officeDocument/2006/relationships/slideLayout" Target="../slideLayouts/slideLayout654.xml"/><Relationship Id="rId696" Type="http://schemas.openxmlformats.org/officeDocument/2006/relationships/slideLayout" Target="../slideLayouts/slideLayout696.xml"/><Relationship Id="rId861" Type="http://schemas.openxmlformats.org/officeDocument/2006/relationships/slideLayout" Target="../slideLayouts/slideLayout861.xml"/><Relationship Id="rId917" Type="http://schemas.openxmlformats.org/officeDocument/2006/relationships/slideLayout" Target="../slideLayouts/slideLayout917.xml"/><Relationship Id="rId959" Type="http://schemas.openxmlformats.org/officeDocument/2006/relationships/slideLayout" Target="../slideLayouts/slideLayout959.xml"/><Relationship Id="rId46" Type="http://schemas.openxmlformats.org/officeDocument/2006/relationships/slideLayout" Target="../slideLayouts/slideLayout46.xml"/><Relationship Id="rId293" Type="http://schemas.openxmlformats.org/officeDocument/2006/relationships/slideLayout" Target="../slideLayouts/slideLayout293.xml"/><Relationship Id="rId307" Type="http://schemas.openxmlformats.org/officeDocument/2006/relationships/slideLayout" Target="../slideLayouts/slideLayout307.xml"/><Relationship Id="rId349" Type="http://schemas.openxmlformats.org/officeDocument/2006/relationships/slideLayout" Target="../slideLayouts/slideLayout349.xml"/><Relationship Id="rId514" Type="http://schemas.openxmlformats.org/officeDocument/2006/relationships/slideLayout" Target="../slideLayouts/slideLayout514.xml"/><Relationship Id="rId556" Type="http://schemas.openxmlformats.org/officeDocument/2006/relationships/slideLayout" Target="../slideLayouts/slideLayout556.xml"/><Relationship Id="rId721" Type="http://schemas.openxmlformats.org/officeDocument/2006/relationships/slideLayout" Target="../slideLayouts/slideLayout721.xml"/><Relationship Id="rId763" Type="http://schemas.openxmlformats.org/officeDocument/2006/relationships/slideLayout" Target="../slideLayouts/slideLayout76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3" Type="http://schemas.openxmlformats.org/officeDocument/2006/relationships/slideLayout" Target="../slideLayouts/slideLayout153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360" Type="http://schemas.openxmlformats.org/officeDocument/2006/relationships/slideLayout" Target="../slideLayouts/slideLayout360.xml"/><Relationship Id="rId416" Type="http://schemas.openxmlformats.org/officeDocument/2006/relationships/slideLayout" Target="../slideLayouts/slideLayout416.xml"/><Relationship Id="rId598" Type="http://schemas.openxmlformats.org/officeDocument/2006/relationships/slideLayout" Target="../slideLayouts/slideLayout598.xml"/><Relationship Id="rId819" Type="http://schemas.openxmlformats.org/officeDocument/2006/relationships/slideLayout" Target="../slideLayouts/slideLayout819.xml"/><Relationship Id="rId970" Type="http://schemas.openxmlformats.org/officeDocument/2006/relationships/slideLayout" Target="../slideLayouts/slideLayout970.xml"/><Relationship Id="rId1004" Type="http://schemas.openxmlformats.org/officeDocument/2006/relationships/slideLayout" Target="../slideLayouts/slideLayout1004.xml"/><Relationship Id="rId220" Type="http://schemas.openxmlformats.org/officeDocument/2006/relationships/slideLayout" Target="../slideLayouts/slideLayout220.xml"/><Relationship Id="rId458" Type="http://schemas.openxmlformats.org/officeDocument/2006/relationships/slideLayout" Target="../slideLayouts/slideLayout458.xml"/><Relationship Id="rId623" Type="http://schemas.openxmlformats.org/officeDocument/2006/relationships/slideLayout" Target="../slideLayouts/slideLayout623.xml"/><Relationship Id="rId665" Type="http://schemas.openxmlformats.org/officeDocument/2006/relationships/slideLayout" Target="../slideLayouts/slideLayout665.xml"/><Relationship Id="rId830" Type="http://schemas.openxmlformats.org/officeDocument/2006/relationships/slideLayout" Target="../slideLayouts/slideLayout830.xml"/><Relationship Id="rId872" Type="http://schemas.openxmlformats.org/officeDocument/2006/relationships/slideLayout" Target="../slideLayouts/slideLayout872.xml"/><Relationship Id="rId928" Type="http://schemas.openxmlformats.org/officeDocument/2006/relationships/slideLayout" Target="../slideLayouts/slideLayout928.xml"/><Relationship Id="rId15" Type="http://schemas.openxmlformats.org/officeDocument/2006/relationships/slideLayout" Target="../slideLayouts/slideLayout15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318" Type="http://schemas.openxmlformats.org/officeDocument/2006/relationships/slideLayout" Target="../slideLayouts/slideLayout318.xml"/><Relationship Id="rId525" Type="http://schemas.openxmlformats.org/officeDocument/2006/relationships/slideLayout" Target="../slideLayouts/slideLayout525.xml"/><Relationship Id="rId567" Type="http://schemas.openxmlformats.org/officeDocument/2006/relationships/slideLayout" Target="../slideLayouts/slideLayout567.xml"/><Relationship Id="rId732" Type="http://schemas.openxmlformats.org/officeDocument/2006/relationships/slideLayout" Target="../slideLayouts/slideLayout732.xml"/><Relationship Id="rId99" Type="http://schemas.openxmlformats.org/officeDocument/2006/relationships/slideLayout" Target="../slideLayouts/slideLayout99.xml"/><Relationship Id="rId122" Type="http://schemas.openxmlformats.org/officeDocument/2006/relationships/slideLayout" Target="../slideLayouts/slideLayout122.xml"/><Relationship Id="rId164" Type="http://schemas.openxmlformats.org/officeDocument/2006/relationships/slideLayout" Target="../slideLayouts/slideLayout164.xml"/><Relationship Id="rId371" Type="http://schemas.openxmlformats.org/officeDocument/2006/relationships/slideLayout" Target="../slideLayouts/slideLayout371.xml"/><Relationship Id="rId774" Type="http://schemas.openxmlformats.org/officeDocument/2006/relationships/slideLayout" Target="../slideLayouts/slideLayout774.xml"/><Relationship Id="rId981" Type="http://schemas.openxmlformats.org/officeDocument/2006/relationships/slideLayout" Target="../slideLayouts/slideLayout981.xml"/><Relationship Id="rId1015" Type="http://schemas.openxmlformats.org/officeDocument/2006/relationships/slideLayout" Target="../slideLayouts/slideLayout1015.xml"/><Relationship Id="rId427" Type="http://schemas.openxmlformats.org/officeDocument/2006/relationships/slideLayout" Target="../slideLayouts/slideLayout427.xml"/><Relationship Id="rId469" Type="http://schemas.openxmlformats.org/officeDocument/2006/relationships/slideLayout" Target="../slideLayouts/slideLayout469.xml"/><Relationship Id="rId634" Type="http://schemas.openxmlformats.org/officeDocument/2006/relationships/slideLayout" Target="../slideLayouts/slideLayout634.xml"/><Relationship Id="rId676" Type="http://schemas.openxmlformats.org/officeDocument/2006/relationships/slideLayout" Target="../slideLayouts/slideLayout676.xml"/><Relationship Id="rId841" Type="http://schemas.openxmlformats.org/officeDocument/2006/relationships/slideLayout" Target="../slideLayouts/slideLayout841.xml"/><Relationship Id="rId883" Type="http://schemas.openxmlformats.org/officeDocument/2006/relationships/slideLayout" Target="../slideLayouts/slideLayout883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73" Type="http://schemas.openxmlformats.org/officeDocument/2006/relationships/slideLayout" Target="../slideLayouts/slideLayout273.xml"/><Relationship Id="rId329" Type="http://schemas.openxmlformats.org/officeDocument/2006/relationships/slideLayout" Target="../slideLayouts/slideLayout329.xml"/><Relationship Id="rId480" Type="http://schemas.openxmlformats.org/officeDocument/2006/relationships/slideLayout" Target="../slideLayouts/slideLayout480.xml"/><Relationship Id="rId536" Type="http://schemas.openxmlformats.org/officeDocument/2006/relationships/slideLayout" Target="../slideLayouts/slideLayout536.xml"/><Relationship Id="rId701" Type="http://schemas.openxmlformats.org/officeDocument/2006/relationships/slideLayout" Target="../slideLayouts/slideLayout701.xml"/><Relationship Id="rId939" Type="http://schemas.openxmlformats.org/officeDocument/2006/relationships/slideLayout" Target="../slideLayouts/slideLayout939.xml"/><Relationship Id="rId68" Type="http://schemas.openxmlformats.org/officeDocument/2006/relationships/slideLayout" Target="../slideLayouts/slideLayout68.xml"/><Relationship Id="rId133" Type="http://schemas.openxmlformats.org/officeDocument/2006/relationships/slideLayout" Target="../slideLayouts/slideLayout133.xml"/><Relationship Id="rId175" Type="http://schemas.openxmlformats.org/officeDocument/2006/relationships/slideLayout" Target="../slideLayouts/slideLayout175.xml"/><Relationship Id="rId340" Type="http://schemas.openxmlformats.org/officeDocument/2006/relationships/slideLayout" Target="../slideLayouts/slideLayout340.xml"/><Relationship Id="rId578" Type="http://schemas.openxmlformats.org/officeDocument/2006/relationships/slideLayout" Target="../slideLayouts/slideLayout578.xml"/><Relationship Id="rId743" Type="http://schemas.openxmlformats.org/officeDocument/2006/relationships/slideLayout" Target="../slideLayouts/slideLayout743.xml"/><Relationship Id="rId785" Type="http://schemas.openxmlformats.org/officeDocument/2006/relationships/slideLayout" Target="../slideLayouts/slideLayout785.xml"/><Relationship Id="rId950" Type="http://schemas.openxmlformats.org/officeDocument/2006/relationships/slideLayout" Target="../slideLayouts/slideLayout950.xml"/><Relationship Id="rId992" Type="http://schemas.openxmlformats.org/officeDocument/2006/relationships/slideLayout" Target="../slideLayouts/slideLayout992.xml"/><Relationship Id="rId1026" Type="http://schemas.openxmlformats.org/officeDocument/2006/relationships/tags" Target="../tags/tag2.xml"/><Relationship Id="rId200" Type="http://schemas.openxmlformats.org/officeDocument/2006/relationships/slideLayout" Target="../slideLayouts/slideLayout200.xml"/><Relationship Id="rId382" Type="http://schemas.openxmlformats.org/officeDocument/2006/relationships/slideLayout" Target="../slideLayouts/slideLayout382.xml"/><Relationship Id="rId438" Type="http://schemas.openxmlformats.org/officeDocument/2006/relationships/slideLayout" Target="../slideLayouts/slideLayout438.xml"/><Relationship Id="rId603" Type="http://schemas.openxmlformats.org/officeDocument/2006/relationships/slideLayout" Target="../slideLayouts/slideLayout603.xml"/><Relationship Id="rId645" Type="http://schemas.openxmlformats.org/officeDocument/2006/relationships/slideLayout" Target="../slideLayouts/slideLayout645.xml"/><Relationship Id="rId687" Type="http://schemas.openxmlformats.org/officeDocument/2006/relationships/slideLayout" Target="../slideLayouts/slideLayout687.xml"/><Relationship Id="rId810" Type="http://schemas.openxmlformats.org/officeDocument/2006/relationships/slideLayout" Target="../slideLayouts/slideLayout810.xml"/><Relationship Id="rId852" Type="http://schemas.openxmlformats.org/officeDocument/2006/relationships/slideLayout" Target="../slideLayouts/slideLayout852.xml"/><Relationship Id="rId908" Type="http://schemas.openxmlformats.org/officeDocument/2006/relationships/slideLayout" Target="../slideLayouts/slideLayout908.xml"/><Relationship Id="rId242" Type="http://schemas.openxmlformats.org/officeDocument/2006/relationships/slideLayout" Target="../slideLayouts/slideLayout242.xml"/><Relationship Id="rId284" Type="http://schemas.openxmlformats.org/officeDocument/2006/relationships/slideLayout" Target="../slideLayouts/slideLayout284.xml"/><Relationship Id="rId491" Type="http://schemas.openxmlformats.org/officeDocument/2006/relationships/slideLayout" Target="../slideLayouts/slideLayout491.xml"/><Relationship Id="rId505" Type="http://schemas.openxmlformats.org/officeDocument/2006/relationships/slideLayout" Target="../slideLayouts/slideLayout505.xml"/><Relationship Id="rId712" Type="http://schemas.openxmlformats.org/officeDocument/2006/relationships/slideLayout" Target="../slideLayouts/slideLayout712.xml"/><Relationship Id="rId894" Type="http://schemas.openxmlformats.org/officeDocument/2006/relationships/slideLayout" Target="../slideLayouts/slideLayout894.xml"/><Relationship Id="rId37" Type="http://schemas.openxmlformats.org/officeDocument/2006/relationships/slideLayout" Target="../slideLayouts/slideLayout37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44" Type="http://schemas.openxmlformats.org/officeDocument/2006/relationships/slideLayout" Target="../slideLayouts/slideLayout144.xml"/><Relationship Id="rId547" Type="http://schemas.openxmlformats.org/officeDocument/2006/relationships/slideLayout" Target="../slideLayouts/slideLayout547.xml"/><Relationship Id="rId589" Type="http://schemas.openxmlformats.org/officeDocument/2006/relationships/slideLayout" Target="../slideLayouts/slideLayout589.xml"/><Relationship Id="rId754" Type="http://schemas.openxmlformats.org/officeDocument/2006/relationships/slideLayout" Target="../slideLayouts/slideLayout754.xml"/><Relationship Id="rId796" Type="http://schemas.openxmlformats.org/officeDocument/2006/relationships/slideLayout" Target="../slideLayouts/slideLayout796.xml"/><Relationship Id="rId961" Type="http://schemas.openxmlformats.org/officeDocument/2006/relationships/slideLayout" Target="../slideLayouts/slideLayout961.xml"/><Relationship Id="rId90" Type="http://schemas.openxmlformats.org/officeDocument/2006/relationships/slideLayout" Target="../slideLayouts/slideLayout90.xml"/><Relationship Id="rId186" Type="http://schemas.openxmlformats.org/officeDocument/2006/relationships/slideLayout" Target="../slideLayouts/slideLayout186.xml"/><Relationship Id="rId351" Type="http://schemas.openxmlformats.org/officeDocument/2006/relationships/slideLayout" Target="../slideLayouts/slideLayout351.xml"/><Relationship Id="rId393" Type="http://schemas.openxmlformats.org/officeDocument/2006/relationships/slideLayout" Target="../slideLayouts/slideLayout393.xml"/><Relationship Id="rId407" Type="http://schemas.openxmlformats.org/officeDocument/2006/relationships/slideLayout" Target="../slideLayouts/slideLayout407.xml"/><Relationship Id="rId449" Type="http://schemas.openxmlformats.org/officeDocument/2006/relationships/slideLayout" Target="../slideLayouts/slideLayout449.xml"/><Relationship Id="rId614" Type="http://schemas.openxmlformats.org/officeDocument/2006/relationships/slideLayout" Target="../slideLayouts/slideLayout614.xml"/><Relationship Id="rId656" Type="http://schemas.openxmlformats.org/officeDocument/2006/relationships/slideLayout" Target="../slideLayouts/slideLayout656.xml"/><Relationship Id="rId821" Type="http://schemas.openxmlformats.org/officeDocument/2006/relationships/slideLayout" Target="../slideLayouts/slideLayout821.xml"/><Relationship Id="rId863" Type="http://schemas.openxmlformats.org/officeDocument/2006/relationships/slideLayout" Target="../slideLayouts/slideLayout863.xml"/><Relationship Id="rId211" Type="http://schemas.openxmlformats.org/officeDocument/2006/relationships/slideLayout" Target="../slideLayouts/slideLayout211.xml"/><Relationship Id="rId253" Type="http://schemas.openxmlformats.org/officeDocument/2006/relationships/slideLayout" Target="../slideLayouts/slideLayout253.xml"/><Relationship Id="rId295" Type="http://schemas.openxmlformats.org/officeDocument/2006/relationships/slideLayout" Target="../slideLayouts/slideLayout295.xml"/><Relationship Id="rId309" Type="http://schemas.openxmlformats.org/officeDocument/2006/relationships/slideLayout" Target="../slideLayouts/slideLayout309.xml"/><Relationship Id="rId460" Type="http://schemas.openxmlformats.org/officeDocument/2006/relationships/slideLayout" Target="../slideLayouts/slideLayout460.xml"/><Relationship Id="rId516" Type="http://schemas.openxmlformats.org/officeDocument/2006/relationships/slideLayout" Target="../slideLayouts/slideLayout516.xml"/><Relationship Id="rId698" Type="http://schemas.openxmlformats.org/officeDocument/2006/relationships/slideLayout" Target="../slideLayouts/slideLayout698.xml"/><Relationship Id="rId919" Type="http://schemas.openxmlformats.org/officeDocument/2006/relationships/slideLayout" Target="../slideLayouts/slideLayout919.xml"/><Relationship Id="rId48" Type="http://schemas.openxmlformats.org/officeDocument/2006/relationships/slideLayout" Target="../slideLayouts/slideLayout48.xml"/><Relationship Id="rId113" Type="http://schemas.openxmlformats.org/officeDocument/2006/relationships/slideLayout" Target="../slideLayouts/slideLayout113.xml"/><Relationship Id="rId320" Type="http://schemas.openxmlformats.org/officeDocument/2006/relationships/slideLayout" Target="../slideLayouts/slideLayout320.xml"/><Relationship Id="rId558" Type="http://schemas.openxmlformats.org/officeDocument/2006/relationships/slideLayout" Target="../slideLayouts/slideLayout558.xml"/><Relationship Id="rId723" Type="http://schemas.openxmlformats.org/officeDocument/2006/relationships/slideLayout" Target="../slideLayouts/slideLayout723.xml"/><Relationship Id="rId765" Type="http://schemas.openxmlformats.org/officeDocument/2006/relationships/slideLayout" Target="../slideLayouts/slideLayout765.xml"/><Relationship Id="rId930" Type="http://schemas.openxmlformats.org/officeDocument/2006/relationships/slideLayout" Target="../slideLayouts/slideLayout930.xml"/><Relationship Id="rId972" Type="http://schemas.openxmlformats.org/officeDocument/2006/relationships/slideLayout" Target="../slideLayouts/slideLayout972.xml"/><Relationship Id="rId1006" Type="http://schemas.openxmlformats.org/officeDocument/2006/relationships/slideLayout" Target="../slideLayouts/slideLayout1006.xml"/><Relationship Id="rId155" Type="http://schemas.openxmlformats.org/officeDocument/2006/relationships/slideLayout" Target="../slideLayouts/slideLayout155.xml"/><Relationship Id="rId197" Type="http://schemas.openxmlformats.org/officeDocument/2006/relationships/slideLayout" Target="../slideLayouts/slideLayout197.xml"/><Relationship Id="rId362" Type="http://schemas.openxmlformats.org/officeDocument/2006/relationships/slideLayout" Target="../slideLayouts/slideLayout362.xml"/><Relationship Id="rId418" Type="http://schemas.openxmlformats.org/officeDocument/2006/relationships/slideLayout" Target="../slideLayouts/slideLayout418.xml"/><Relationship Id="rId625" Type="http://schemas.openxmlformats.org/officeDocument/2006/relationships/slideLayout" Target="../slideLayouts/slideLayout625.xml"/><Relationship Id="rId832" Type="http://schemas.openxmlformats.org/officeDocument/2006/relationships/slideLayout" Target="../slideLayouts/slideLayout832.xml"/><Relationship Id="rId222" Type="http://schemas.openxmlformats.org/officeDocument/2006/relationships/slideLayout" Target="../slideLayouts/slideLayout222.xml"/><Relationship Id="rId264" Type="http://schemas.openxmlformats.org/officeDocument/2006/relationships/slideLayout" Target="../slideLayouts/slideLayout264.xml"/><Relationship Id="rId471" Type="http://schemas.openxmlformats.org/officeDocument/2006/relationships/slideLayout" Target="../slideLayouts/slideLayout471.xml"/><Relationship Id="rId667" Type="http://schemas.openxmlformats.org/officeDocument/2006/relationships/slideLayout" Target="../slideLayouts/slideLayout667.xml"/><Relationship Id="rId874" Type="http://schemas.openxmlformats.org/officeDocument/2006/relationships/slideLayout" Target="../slideLayouts/slideLayout874.xml"/><Relationship Id="rId17" Type="http://schemas.openxmlformats.org/officeDocument/2006/relationships/slideLayout" Target="../slideLayouts/slideLayout17.xml"/><Relationship Id="rId59" Type="http://schemas.openxmlformats.org/officeDocument/2006/relationships/slideLayout" Target="../slideLayouts/slideLayout59.xml"/><Relationship Id="rId124" Type="http://schemas.openxmlformats.org/officeDocument/2006/relationships/slideLayout" Target="../slideLayouts/slideLayout124.xml"/><Relationship Id="rId527" Type="http://schemas.openxmlformats.org/officeDocument/2006/relationships/slideLayout" Target="../slideLayouts/slideLayout527.xml"/><Relationship Id="rId569" Type="http://schemas.openxmlformats.org/officeDocument/2006/relationships/slideLayout" Target="../slideLayouts/slideLayout569.xml"/><Relationship Id="rId734" Type="http://schemas.openxmlformats.org/officeDocument/2006/relationships/slideLayout" Target="../slideLayouts/slideLayout734.xml"/><Relationship Id="rId776" Type="http://schemas.openxmlformats.org/officeDocument/2006/relationships/slideLayout" Target="../slideLayouts/slideLayout776.xml"/><Relationship Id="rId941" Type="http://schemas.openxmlformats.org/officeDocument/2006/relationships/slideLayout" Target="../slideLayouts/slideLayout941.xml"/><Relationship Id="rId983" Type="http://schemas.openxmlformats.org/officeDocument/2006/relationships/slideLayout" Target="../slideLayouts/slideLayout983.xml"/><Relationship Id="rId70" Type="http://schemas.openxmlformats.org/officeDocument/2006/relationships/slideLayout" Target="../slideLayouts/slideLayout70.xml"/><Relationship Id="rId166" Type="http://schemas.openxmlformats.org/officeDocument/2006/relationships/slideLayout" Target="../slideLayouts/slideLayout166.xml"/><Relationship Id="rId331" Type="http://schemas.openxmlformats.org/officeDocument/2006/relationships/slideLayout" Target="../slideLayouts/slideLayout331.xml"/><Relationship Id="rId373" Type="http://schemas.openxmlformats.org/officeDocument/2006/relationships/slideLayout" Target="../slideLayouts/slideLayout373.xml"/><Relationship Id="rId429" Type="http://schemas.openxmlformats.org/officeDocument/2006/relationships/slideLayout" Target="../slideLayouts/slideLayout429.xml"/><Relationship Id="rId580" Type="http://schemas.openxmlformats.org/officeDocument/2006/relationships/slideLayout" Target="../slideLayouts/slideLayout580.xml"/><Relationship Id="rId636" Type="http://schemas.openxmlformats.org/officeDocument/2006/relationships/slideLayout" Target="../slideLayouts/slideLayout636.xml"/><Relationship Id="rId801" Type="http://schemas.openxmlformats.org/officeDocument/2006/relationships/slideLayout" Target="../slideLayouts/slideLayout801.xml"/><Relationship Id="rId1017" Type="http://schemas.openxmlformats.org/officeDocument/2006/relationships/slideLayout" Target="../slideLayouts/slideLayout1017.xml"/><Relationship Id="rId1" Type="http://schemas.openxmlformats.org/officeDocument/2006/relationships/slideLayout" Target="../slideLayouts/slideLayout1.xml"/><Relationship Id="rId233" Type="http://schemas.openxmlformats.org/officeDocument/2006/relationships/slideLayout" Target="../slideLayouts/slideLayout233.xml"/><Relationship Id="rId440" Type="http://schemas.openxmlformats.org/officeDocument/2006/relationships/slideLayout" Target="../slideLayouts/slideLayout440.xml"/><Relationship Id="rId678" Type="http://schemas.openxmlformats.org/officeDocument/2006/relationships/slideLayout" Target="../slideLayouts/slideLayout678.xml"/><Relationship Id="rId843" Type="http://schemas.openxmlformats.org/officeDocument/2006/relationships/slideLayout" Target="../slideLayouts/slideLayout843.xml"/><Relationship Id="rId885" Type="http://schemas.openxmlformats.org/officeDocument/2006/relationships/slideLayout" Target="../slideLayouts/slideLayout885.xml"/><Relationship Id="rId28" Type="http://schemas.openxmlformats.org/officeDocument/2006/relationships/slideLayout" Target="../slideLayouts/slideLayout28.xml"/><Relationship Id="rId275" Type="http://schemas.openxmlformats.org/officeDocument/2006/relationships/slideLayout" Target="../slideLayouts/slideLayout275.xml"/><Relationship Id="rId300" Type="http://schemas.openxmlformats.org/officeDocument/2006/relationships/slideLayout" Target="../slideLayouts/slideLayout300.xml"/><Relationship Id="rId482" Type="http://schemas.openxmlformats.org/officeDocument/2006/relationships/slideLayout" Target="../slideLayouts/slideLayout482.xml"/><Relationship Id="rId538" Type="http://schemas.openxmlformats.org/officeDocument/2006/relationships/slideLayout" Target="../slideLayouts/slideLayout538.xml"/><Relationship Id="rId703" Type="http://schemas.openxmlformats.org/officeDocument/2006/relationships/slideLayout" Target="../slideLayouts/slideLayout703.xml"/><Relationship Id="rId745" Type="http://schemas.openxmlformats.org/officeDocument/2006/relationships/slideLayout" Target="../slideLayouts/slideLayout745.xml"/><Relationship Id="rId910" Type="http://schemas.openxmlformats.org/officeDocument/2006/relationships/slideLayout" Target="../slideLayouts/slideLayout910.xml"/><Relationship Id="rId952" Type="http://schemas.openxmlformats.org/officeDocument/2006/relationships/slideLayout" Target="../slideLayouts/slideLayout952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77" Type="http://schemas.openxmlformats.org/officeDocument/2006/relationships/slideLayout" Target="../slideLayouts/slideLayout177.xml"/><Relationship Id="rId342" Type="http://schemas.openxmlformats.org/officeDocument/2006/relationships/slideLayout" Target="../slideLayouts/slideLayout342.xml"/><Relationship Id="rId384" Type="http://schemas.openxmlformats.org/officeDocument/2006/relationships/slideLayout" Target="../slideLayouts/slideLayout384.xml"/><Relationship Id="rId591" Type="http://schemas.openxmlformats.org/officeDocument/2006/relationships/slideLayout" Target="../slideLayouts/slideLayout591.xml"/><Relationship Id="rId605" Type="http://schemas.openxmlformats.org/officeDocument/2006/relationships/slideLayout" Target="../slideLayouts/slideLayout605.xml"/><Relationship Id="rId787" Type="http://schemas.openxmlformats.org/officeDocument/2006/relationships/slideLayout" Target="../slideLayouts/slideLayout787.xml"/><Relationship Id="rId812" Type="http://schemas.openxmlformats.org/officeDocument/2006/relationships/slideLayout" Target="../slideLayouts/slideLayout812.xml"/><Relationship Id="rId994" Type="http://schemas.openxmlformats.org/officeDocument/2006/relationships/slideLayout" Target="../slideLayouts/slideLayout994.xml"/><Relationship Id="rId1028" Type="http://schemas.openxmlformats.org/officeDocument/2006/relationships/image" Target="../media/image1.emf"/><Relationship Id="rId202" Type="http://schemas.openxmlformats.org/officeDocument/2006/relationships/slideLayout" Target="../slideLayouts/slideLayout202.xml"/><Relationship Id="rId244" Type="http://schemas.openxmlformats.org/officeDocument/2006/relationships/slideLayout" Target="../slideLayouts/slideLayout244.xml"/><Relationship Id="rId647" Type="http://schemas.openxmlformats.org/officeDocument/2006/relationships/slideLayout" Target="../slideLayouts/slideLayout647.xml"/><Relationship Id="rId689" Type="http://schemas.openxmlformats.org/officeDocument/2006/relationships/slideLayout" Target="../slideLayouts/slideLayout689.xml"/><Relationship Id="rId854" Type="http://schemas.openxmlformats.org/officeDocument/2006/relationships/slideLayout" Target="../slideLayouts/slideLayout854.xml"/><Relationship Id="rId896" Type="http://schemas.openxmlformats.org/officeDocument/2006/relationships/slideLayout" Target="../slideLayouts/slideLayout896.xml"/><Relationship Id="rId39" Type="http://schemas.openxmlformats.org/officeDocument/2006/relationships/slideLayout" Target="../slideLayouts/slideLayout39.xml"/><Relationship Id="rId286" Type="http://schemas.openxmlformats.org/officeDocument/2006/relationships/slideLayout" Target="../slideLayouts/slideLayout286.xml"/><Relationship Id="rId451" Type="http://schemas.openxmlformats.org/officeDocument/2006/relationships/slideLayout" Target="../slideLayouts/slideLayout451.xml"/><Relationship Id="rId493" Type="http://schemas.openxmlformats.org/officeDocument/2006/relationships/slideLayout" Target="../slideLayouts/slideLayout493.xml"/><Relationship Id="rId507" Type="http://schemas.openxmlformats.org/officeDocument/2006/relationships/slideLayout" Target="../slideLayouts/slideLayout507.xml"/><Relationship Id="rId549" Type="http://schemas.openxmlformats.org/officeDocument/2006/relationships/slideLayout" Target="../slideLayouts/slideLayout549.xml"/><Relationship Id="rId714" Type="http://schemas.openxmlformats.org/officeDocument/2006/relationships/slideLayout" Target="../slideLayouts/slideLayout714.xml"/><Relationship Id="rId756" Type="http://schemas.openxmlformats.org/officeDocument/2006/relationships/slideLayout" Target="../slideLayouts/slideLayout756.xml"/><Relationship Id="rId921" Type="http://schemas.openxmlformats.org/officeDocument/2006/relationships/slideLayout" Target="../slideLayouts/slideLayout921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46" Type="http://schemas.openxmlformats.org/officeDocument/2006/relationships/slideLayout" Target="../slideLayouts/slideLayout146.xml"/><Relationship Id="rId188" Type="http://schemas.openxmlformats.org/officeDocument/2006/relationships/slideLayout" Target="../slideLayouts/slideLayout188.xml"/><Relationship Id="rId311" Type="http://schemas.openxmlformats.org/officeDocument/2006/relationships/slideLayout" Target="../slideLayouts/slideLayout311.xml"/><Relationship Id="rId353" Type="http://schemas.openxmlformats.org/officeDocument/2006/relationships/slideLayout" Target="../slideLayouts/slideLayout353.xml"/><Relationship Id="rId395" Type="http://schemas.openxmlformats.org/officeDocument/2006/relationships/slideLayout" Target="../slideLayouts/slideLayout395.xml"/><Relationship Id="rId409" Type="http://schemas.openxmlformats.org/officeDocument/2006/relationships/slideLayout" Target="../slideLayouts/slideLayout409.xml"/><Relationship Id="rId560" Type="http://schemas.openxmlformats.org/officeDocument/2006/relationships/slideLayout" Target="../slideLayouts/slideLayout560.xml"/><Relationship Id="rId798" Type="http://schemas.openxmlformats.org/officeDocument/2006/relationships/slideLayout" Target="../slideLayouts/slideLayout798.xml"/><Relationship Id="rId963" Type="http://schemas.openxmlformats.org/officeDocument/2006/relationships/slideLayout" Target="../slideLayouts/slideLayout963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420" Type="http://schemas.openxmlformats.org/officeDocument/2006/relationships/slideLayout" Target="../slideLayouts/slideLayout420.xml"/><Relationship Id="rId616" Type="http://schemas.openxmlformats.org/officeDocument/2006/relationships/slideLayout" Target="../slideLayouts/slideLayout616.xml"/><Relationship Id="rId658" Type="http://schemas.openxmlformats.org/officeDocument/2006/relationships/slideLayout" Target="../slideLayouts/slideLayout658.xml"/><Relationship Id="rId823" Type="http://schemas.openxmlformats.org/officeDocument/2006/relationships/slideLayout" Target="../slideLayouts/slideLayout823.xml"/><Relationship Id="rId865" Type="http://schemas.openxmlformats.org/officeDocument/2006/relationships/slideLayout" Target="../slideLayouts/slideLayout865.xml"/><Relationship Id="rId255" Type="http://schemas.openxmlformats.org/officeDocument/2006/relationships/slideLayout" Target="../slideLayouts/slideLayout255.xml"/><Relationship Id="rId297" Type="http://schemas.openxmlformats.org/officeDocument/2006/relationships/slideLayout" Target="../slideLayouts/slideLayout297.xml"/><Relationship Id="rId462" Type="http://schemas.openxmlformats.org/officeDocument/2006/relationships/slideLayout" Target="../slideLayouts/slideLayout462.xml"/><Relationship Id="rId518" Type="http://schemas.openxmlformats.org/officeDocument/2006/relationships/slideLayout" Target="../slideLayouts/slideLayout518.xml"/><Relationship Id="rId725" Type="http://schemas.openxmlformats.org/officeDocument/2006/relationships/slideLayout" Target="../slideLayouts/slideLayout725.xml"/><Relationship Id="rId932" Type="http://schemas.openxmlformats.org/officeDocument/2006/relationships/slideLayout" Target="../slideLayouts/slideLayout932.xml"/><Relationship Id="rId115" Type="http://schemas.openxmlformats.org/officeDocument/2006/relationships/slideLayout" Target="../slideLayouts/slideLayout115.xml"/><Relationship Id="rId157" Type="http://schemas.openxmlformats.org/officeDocument/2006/relationships/slideLayout" Target="../slideLayouts/slideLayout157.xml"/><Relationship Id="rId322" Type="http://schemas.openxmlformats.org/officeDocument/2006/relationships/slideLayout" Target="../slideLayouts/slideLayout322.xml"/><Relationship Id="rId364" Type="http://schemas.openxmlformats.org/officeDocument/2006/relationships/slideLayout" Target="../slideLayouts/slideLayout364.xml"/><Relationship Id="rId767" Type="http://schemas.openxmlformats.org/officeDocument/2006/relationships/slideLayout" Target="../slideLayouts/slideLayout767.xml"/><Relationship Id="rId974" Type="http://schemas.openxmlformats.org/officeDocument/2006/relationships/slideLayout" Target="../slideLayouts/slideLayout974.xml"/><Relationship Id="rId1008" Type="http://schemas.openxmlformats.org/officeDocument/2006/relationships/slideLayout" Target="../slideLayouts/slideLayout1008.xml"/><Relationship Id="rId61" Type="http://schemas.openxmlformats.org/officeDocument/2006/relationships/slideLayout" Target="../slideLayouts/slideLayout61.xml"/><Relationship Id="rId199" Type="http://schemas.openxmlformats.org/officeDocument/2006/relationships/slideLayout" Target="../slideLayouts/slideLayout199.xml"/><Relationship Id="rId571" Type="http://schemas.openxmlformats.org/officeDocument/2006/relationships/slideLayout" Target="../slideLayouts/slideLayout571.xml"/><Relationship Id="rId627" Type="http://schemas.openxmlformats.org/officeDocument/2006/relationships/slideLayout" Target="../slideLayouts/slideLayout627.xml"/><Relationship Id="rId669" Type="http://schemas.openxmlformats.org/officeDocument/2006/relationships/slideLayout" Target="../slideLayouts/slideLayout669.xml"/><Relationship Id="rId834" Type="http://schemas.openxmlformats.org/officeDocument/2006/relationships/slideLayout" Target="../slideLayouts/slideLayout834.xml"/><Relationship Id="rId876" Type="http://schemas.openxmlformats.org/officeDocument/2006/relationships/slideLayout" Target="../slideLayouts/slideLayout876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66" Type="http://schemas.openxmlformats.org/officeDocument/2006/relationships/slideLayout" Target="../slideLayouts/slideLayout266.xml"/><Relationship Id="rId431" Type="http://schemas.openxmlformats.org/officeDocument/2006/relationships/slideLayout" Target="../slideLayouts/slideLayout431.xml"/><Relationship Id="rId473" Type="http://schemas.openxmlformats.org/officeDocument/2006/relationships/slideLayout" Target="../slideLayouts/slideLayout473.xml"/><Relationship Id="rId529" Type="http://schemas.openxmlformats.org/officeDocument/2006/relationships/slideLayout" Target="../slideLayouts/slideLayout529.xml"/><Relationship Id="rId680" Type="http://schemas.openxmlformats.org/officeDocument/2006/relationships/slideLayout" Target="../slideLayouts/slideLayout680.xml"/><Relationship Id="rId736" Type="http://schemas.openxmlformats.org/officeDocument/2006/relationships/slideLayout" Target="../slideLayouts/slideLayout736.xml"/><Relationship Id="rId901" Type="http://schemas.openxmlformats.org/officeDocument/2006/relationships/slideLayout" Target="../slideLayouts/slideLayout901.xml"/><Relationship Id="rId30" Type="http://schemas.openxmlformats.org/officeDocument/2006/relationships/slideLayout" Target="../slideLayouts/slideLayout30.xml"/><Relationship Id="rId126" Type="http://schemas.openxmlformats.org/officeDocument/2006/relationships/slideLayout" Target="../slideLayouts/slideLayout126.xml"/><Relationship Id="rId168" Type="http://schemas.openxmlformats.org/officeDocument/2006/relationships/slideLayout" Target="../slideLayouts/slideLayout168.xml"/><Relationship Id="rId333" Type="http://schemas.openxmlformats.org/officeDocument/2006/relationships/slideLayout" Target="../slideLayouts/slideLayout333.xml"/><Relationship Id="rId540" Type="http://schemas.openxmlformats.org/officeDocument/2006/relationships/slideLayout" Target="../slideLayouts/slideLayout540.xml"/><Relationship Id="rId778" Type="http://schemas.openxmlformats.org/officeDocument/2006/relationships/slideLayout" Target="../slideLayouts/slideLayout778.xml"/><Relationship Id="rId943" Type="http://schemas.openxmlformats.org/officeDocument/2006/relationships/slideLayout" Target="../slideLayouts/slideLayout943.xml"/><Relationship Id="rId985" Type="http://schemas.openxmlformats.org/officeDocument/2006/relationships/slideLayout" Target="../slideLayouts/slideLayout985.xml"/><Relationship Id="rId1019" Type="http://schemas.openxmlformats.org/officeDocument/2006/relationships/slideLayout" Target="../slideLayouts/slideLayout1019.xml"/><Relationship Id="rId72" Type="http://schemas.openxmlformats.org/officeDocument/2006/relationships/slideLayout" Target="../slideLayouts/slideLayout72.xml"/><Relationship Id="rId375" Type="http://schemas.openxmlformats.org/officeDocument/2006/relationships/slideLayout" Target="../slideLayouts/slideLayout375.xml"/><Relationship Id="rId582" Type="http://schemas.openxmlformats.org/officeDocument/2006/relationships/slideLayout" Target="../slideLayouts/slideLayout582.xml"/><Relationship Id="rId638" Type="http://schemas.openxmlformats.org/officeDocument/2006/relationships/slideLayout" Target="../slideLayouts/slideLayout638.xml"/><Relationship Id="rId803" Type="http://schemas.openxmlformats.org/officeDocument/2006/relationships/slideLayout" Target="../slideLayouts/slideLayout803.xml"/><Relationship Id="rId845" Type="http://schemas.openxmlformats.org/officeDocument/2006/relationships/slideLayout" Target="../slideLayouts/slideLayout845.xml"/><Relationship Id="rId3" Type="http://schemas.openxmlformats.org/officeDocument/2006/relationships/slideLayout" Target="../slideLayouts/slideLayout3.xml"/><Relationship Id="rId235" Type="http://schemas.openxmlformats.org/officeDocument/2006/relationships/slideLayout" Target="../slideLayouts/slideLayout235.xml"/><Relationship Id="rId277" Type="http://schemas.openxmlformats.org/officeDocument/2006/relationships/slideLayout" Target="../slideLayouts/slideLayout277.xml"/><Relationship Id="rId400" Type="http://schemas.openxmlformats.org/officeDocument/2006/relationships/slideLayout" Target="../slideLayouts/slideLayout400.xml"/><Relationship Id="rId442" Type="http://schemas.openxmlformats.org/officeDocument/2006/relationships/slideLayout" Target="../slideLayouts/slideLayout442.xml"/><Relationship Id="rId484" Type="http://schemas.openxmlformats.org/officeDocument/2006/relationships/slideLayout" Target="../slideLayouts/slideLayout484.xml"/><Relationship Id="rId705" Type="http://schemas.openxmlformats.org/officeDocument/2006/relationships/slideLayout" Target="../slideLayouts/slideLayout705.xml"/><Relationship Id="rId887" Type="http://schemas.openxmlformats.org/officeDocument/2006/relationships/slideLayout" Target="../slideLayouts/slideLayout887.xml"/><Relationship Id="rId137" Type="http://schemas.openxmlformats.org/officeDocument/2006/relationships/slideLayout" Target="../slideLayouts/slideLayout137.xml"/><Relationship Id="rId302" Type="http://schemas.openxmlformats.org/officeDocument/2006/relationships/slideLayout" Target="../slideLayouts/slideLayout302.xml"/><Relationship Id="rId344" Type="http://schemas.openxmlformats.org/officeDocument/2006/relationships/slideLayout" Target="../slideLayouts/slideLayout344.xml"/><Relationship Id="rId691" Type="http://schemas.openxmlformats.org/officeDocument/2006/relationships/slideLayout" Target="../slideLayouts/slideLayout691.xml"/><Relationship Id="rId747" Type="http://schemas.openxmlformats.org/officeDocument/2006/relationships/slideLayout" Target="../slideLayouts/slideLayout747.xml"/><Relationship Id="rId789" Type="http://schemas.openxmlformats.org/officeDocument/2006/relationships/slideLayout" Target="../slideLayouts/slideLayout789.xml"/><Relationship Id="rId912" Type="http://schemas.openxmlformats.org/officeDocument/2006/relationships/slideLayout" Target="../slideLayouts/slideLayout912.xml"/><Relationship Id="rId954" Type="http://schemas.openxmlformats.org/officeDocument/2006/relationships/slideLayout" Target="../slideLayouts/slideLayout954.xml"/><Relationship Id="rId996" Type="http://schemas.openxmlformats.org/officeDocument/2006/relationships/slideLayout" Target="../slideLayouts/slideLayout996.xml"/><Relationship Id="rId41" Type="http://schemas.openxmlformats.org/officeDocument/2006/relationships/slideLayout" Target="../slideLayouts/slideLayout41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386" Type="http://schemas.openxmlformats.org/officeDocument/2006/relationships/slideLayout" Target="../slideLayouts/slideLayout386.xml"/><Relationship Id="rId551" Type="http://schemas.openxmlformats.org/officeDocument/2006/relationships/slideLayout" Target="../slideLayouts/slideLayout551.xml"/><Relationship Id="rId593" Type="http://schemas.openxmlformats.org/officeDocument/2006/relationships/slideLayout" Target="../slideLayouts/slideLayout593.xml"/><Relationship Id="rId607" Type="http://schemas.openxmlformats.org/officeDocument/2006/relationships/slideLayout" Target="../slideLayouts/slideLayout607.xml"/><Relationship Id="rId649" Type="http://schemas.openxmlformats.org/officeDocument/2006/relationships/slideLayout" Target="../slideLayouts/slideLayout649.xml"/><Relationship Id="rId814" Type="http://schemas.openxmlformats.org/officeDocument/2006/relationships/slideLayout" Target="../slideLayouts/slideLayout814.xml"/><Relationship Id="rId856" Type="http://schemas.openxmlformats.org/officeDocument/2006/relationships/slideLayout" Target="../slideLayouts/slideLayout856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46" Type="http://schemas.openxmlformats.org/officeDocument/2006/relationships/slideLayout" Target="../slideLayouts/slideLayout246.xml"/><Relationship Id="rId288" Type="http://schemas.openxmlformats.org/officeDocument/2006/relationships/slideLayout" Target="../slideLayouts/slideLayout288.xml"/><Relationship Id="rId411" Type="http://schemas.openxmlformats.org/officeDocument/2006/relationships/slideLayout" Target="../slideLayouts/slideLayout411.xml"/><Relationship Id="rId453" Type="http://schemas.openxmlformats.org/officeDocument/2006/relationships/slideLayout" Target="../slideLayouts/slideLayout453.xml"/><Relationship Id="rId509" Type="http://schemas.openxmlformats.org/officeDocument/2006/relationships/slideLayout" Target="../slideLayouts/slideLayout509.xml"/><Relationship Id="rId660" Type="http://schemas.openxmlformats.org/officeDocument/2006/relationships/slideLayout" Target="../slideLayouts/slideLayout660.xml"/><Relationship Id="rId898" Type="http://schemas.openxmlformats.org/officeDocument/2006/relationships/slideLayout" Target="../slideLayouts/slideLayout898.xml"/><Relationship Id="rId106" Type="http://schemas.openxmlformats.org/officeDocument/2006/relationships/slideLayout" Target="../slideLayouts/slideLayout106.xml"/><Relationship Id="rId313" Type="http://schemas.openxmlformats.org/officeDocument/2006/relationships/slideLayout" Target="../slideLayouts/slideLayout313.xml"/><Relationship Id="rId495" Type="http://schemas.openxmlformats.org/officeDocument/2006/relationships/slideLayout" Target="../slideLayouts/slideLayout495.xml"/><Relationship Id="rId716" Type="http://schemas.openxmlformats.org/officeDocument/2006/relationships/slideLayout" Target="../slideLayouts/slideLayout716.xml"/><Relationship Id="rId758" Type="http://schemas.openxmlformats.org/officeDocument/2006/relationships/slideLayout" Target="../slideLayouts/slideLayout758.xml"/><Relationship Id="rId923" Type="http://schemas.openxmlformats.org/officeDocument/2006/relationships/slideLayout" Target="../slideLayouts/slideLayout923.xml"/><Relationship Id="rId965" Type="http://schemas.openxmlformats.org/officeDocument/2006/relationships/slideLayout" Target="../slideLayouts/slideLayout965.xml"/><Relationship Id="rId10" Type="http://schemas.openxmlformats.org/officeDocument/2006/relationships/slideLayout" Target="../slideLayouts/slideLayout10.xml"/><Relationship Id="rId52" Type="http://schemas.openxmlformats.org/officeDocument/2006/relationships/slideLayout" Target="../slideLayouts/slideLayout52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355" Type="http://schemas.openxmlformats.org/officeDocument/2006/relationships/slideLayout" Target="../slideLayouts/slideLayout355.xml"/><Relationship Id="rId397" Type="http://schemas.openxmlformats.org/officeDocument/2006/relationships/slideLayout" Target="../slideLayouts/slideLayout397.xml"/><Relationship Id="rId520" Type="http://schemas.openxmlformats.org/officeDocument/2006/relationships/slideLayout" Target="../slideLayouts/slideLayout520.xml"/><Relationship Id="rId562" Type="http://schemas.openxmlformats.org/officeDocument/2006/relationships/slideLayout" Target="../slideLayouts/slideLayout562.xml"/><Relationship Id="rId618" Type="http://schemas.openxmlformats.org/officeDocument/2006/relationships/slideLayout" Target="../slideLayouts/slideLayout618.xml"/><Relationship Id="rId825" Type="http://schemas.openxmlformats.org/officeDocument/2006/relationships/slideLayout" Target="../slideLayouts/slideLayout825.xml"/><Relationship Id="rId215" Type="http://schemas.openxmlformats.org/officeDocument/2006/relationships/slideLayout" Target="../slideLayouts/slideLayout215.xml"/><Relationship Id="rId257" Type="http://schemas.openxmlformats.org/officeDocument/2006/relationships/slideLayout" Target="../slideLayouts/slideLayout257.xml"/><Relationship Id="rId422" Type="http://schemas.openxmlformats.org/officeDocument/2006/relationships/slideLayout" Target="../slideLayouts/slideLayout422.xml"/><Relationship Id="rId464" Type="http://schemas.openxmlformats.org/officeDocument/2006/relationships/slideLayout" Target="../slideLayouts/slideLayout464.xml"/><Relationship Id="rId867" Type="http://schemas.openxmlformats.org/officeDocument/2006/relationships/slideLayout" Target="../slideLayouts/slideLayout867.xml"/><Relationship Id="rId1010" Type="http://schemas.openxmlformats.org/officeDocument/2006/relationships/slideLayout" Target="../slideLayouts/slideLayout1010.xml"/><Relationship Id="rId299" Type="http://schemas.openxmlformats.org/officeDocument/2006/relationships/slideLayout" Target="../slideLayouts/slideLayout299.xml"/><Relationship Id="rId727" Type="http://schemas.openxmlformats.org/officeDocument/2006/relationships/slideLayout" Target="../slideLayouts/slideLayout727.xml"/><Relationship Id="rId934" Type="http://schemas.openxmlformats.org/officeDocument/2006/relationships/slideLayout" Target="../slideLayouts/slideLayout934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366" Type="http://schemas.openxmlformats.org/officeDocument/2006/relationships/slideLayout" Target="../slideLayouts/slideLayout366.xml"/><Relationship Id="rId573" Type="http://schemas.openxmlformats.org/officeDocument/2006/relationships/slideLayout" Target="../slideLayouts/slideLayout573.xml"/><Relationship Id="rId780" Type="http://schemas.openxmlformats.org/officeDocument/2006/relationships/slideLayout" Target="../slideLayouts/slideLayout780.xml"/><Relationship Id="rId226" Type="http://schemas.openxmlformats.org/officeDocument/2006/relationships/slideLayout" Target="../slideLayouts/slideLayout226.xml"/><Relationship Id="rId433" Type="http://schemas.openxmlformats.org/officeDocument/2006/relationships/slideLayout" Target="../slideLayouts/slideLayout433.xml"/><Relationship Id="rId878" Type="http://schemas.openxmlformats.org/officeDocument/2006/relationships/slideLayout" Target="../slideLayouts/slideLayout878.xml"/><Relationship Id="rId640" Type="http://schemas.openxmlformats.org/officeDocument/2006/relationships/slideLayout" Target="../slideLayouts/slideLayout640.xml"/><Relationship Id="rId738" Type="http://schemas.openxmlformats.org/officeDocument/2006/relationships/slideLayout" Target="../slideLayouts/slideLayout738.xml"/><Relationship Id="rId945" Type="http://schemas.openxmlformats.org/officeDocument/2006/relationships/slideLayout" Target="../slideLayouts/slideLayout945.xml"/><Relationship Id="rId74" Type="http://schemas.openxmlformats.org/officeDocument/2006/relationships/slideLayout" Target="../slideLayouts/slideLayout74.xml"/><Relationship Id="rId377" Type="http://schemas.openxmlformats.org/officeDocument/2006/relationships/slideLayout" Target="../slideLayouts/slideLayout377.xml"/><Relationship Id="rId500" Type="http://schemas.openxmlformats.org/officeDocument/2006/relationships/slideLayout" Target="../slideLayouts/slideLayout500.xml"/><Relationship Id="rId584" Type="http://schemas.openxmlformats.org/officeDocument/2006/relationships/slideLayout" Target="../slideLayouts/slideLayout584.xml"/><Relationship Id="rId805" Type="http://schemas.openxmlformats.org/officeDocument/2006/relationships/slideLayout" Target="../slideLayouts/slideLayout805.xml"/><Relationship Id="rId5" Type="http://schemas.openxmlformats.org/officeDocument/2006/relationships/slideLayout" Target="../slideLayouts/slideLayout5.xml"/><Relationship Id="rId237" Type="http://schemas.openxmlformats.org/officeDocument/2006/relationships/slideLayout" Target="../slideLayouts/slideLayout237.xml"/><Relationship Id="rId791" Type="http://schemas.openxmlformats.org/officeDocument/2006/relationships/slideLayout" Target="../slideLayouts/slideLayout791.xml"/><Relationship Id="rId889" Type="http://schemas.openxmlformats.org/officeDocument/2006/relationships/slideLayout" Target="../slideLayouts/slideLayout889.xml"/><Relationship Id="rId444" Type="http://schemas.openxmlformats.org/officeDocument/2006/relationships/slideLayout" Target="../slideLayouts/slideLayout444.xml"/><Relationship Id="rId651" Type="http://schemas.openxmlformats.org/officeDocument/2006/relationships/slideLayout" Target="../slideLayouts/slideLayout651.xml"/><Relationship Id="rId749" Type="http://schemas.openxmlformats.org/officeDocument/2006/relationships/slideLayout" Target="../slideLayouts/slideLayout749.xml"/><Relationship Id="rId290" Type="http://schemas.openxmlformats.org/officeDocument/2006/relationships/slideLayout" Target="../slideLayouts/slideLayout290.xml"/><Relationship Id="rId304" Type="http://schemas.openxmlformats.org/officeDocument/2006/relationships/slideLayout" Target="../slideLayouts/slideLayout304.xml"/><Relationship Id="rId388" Type="http://schemas.openxmlformats.org/officeDocument/2006/relationships/slideLayout" Target="../slideLayouts/slideLayout388.xml"/><Relationship Id="rId511" Type="http://schemas.openxmlformats.org/officeDocument/2006/relationships/slideLayout" Target="../slideLayouts/slideLayout511.xml"/><Relationship Id="rId609" Type="http://schemas.openxmlformats.org/officeDocument/2006/relationships/slideLayout" Target="../slideLayouts/slideLayout609.xml"/><Relationship Id="rId956" Type="http://schemas.openxmlformats.org/officeDocument/2006/relationships/slideLayout" Target="../slideLayouts/slideLayout956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595" Type="http://schemas.openxmlformats.org/officeDocument/2006/relationships/slideLayout" Target="../slideLayouts/slideLayout595.xml"/><Relationship Id="rId816" Type="http://schemas.openxmlformats.org/officeDocument/2006/relationships/slideLayout" Target="../slideLayouts/slideLayout816.xml"/><Relationship Id="rId1001" Type="http://schemas.openxmlformats.org/officeDocument/2006/relationships/slideLayout" Target="../slideLayouts/slideLayout1001.xml"/><Relationship Id="rId248" Type="http://schemas.openxmlformats.org/officeDocument/2006/relationships/slideLayout" Target="../slideLayouts/slideLayout248.xml"/><Relationship Id="rId455" Type="http://schemas.openxmlformats.org/officeDocument/2006/relationships/slideLayout" Target="../slideLayouts/slideLayout455.xml"/><Relationship Id="rId662" Type="http://schemas.openxmlformats.org/officeDocument/2006/relationships/slideLayout" Target="../slideLayouts/slideLayout662.xml"/><Relationship Id="rId12" Type="http://schemas.openxmlformats.org/officeDocument/2006/relationships/slideLayout" Target="../slideLayouts/slideLayout12.xml"/><Relationship Id="rId108" Type="http://schemas.openxmlformats.org/officeDocument/2006/relationships/slideLayout" Target="../slideLayouts/slideLayout108.xml"/><Relationship Id="rId315" Type="http://schemas.openxmlformats.org/officeDocument/2006/relationships/slideLayout" Target="../slideLayouts/slideLayout315.xml"/><Relationship Id="rId522" Type="http://schemas.openxmlformats.org/officeDocument/2006/relationships/slideLayout" Target="../slideLayouts/slideLayout522.xml"/><Relationship Id="rId967" Type="http://schemas.openxmlformats.org/officeDocument/2006/relationships/slideLayout" Target="../slideLayouts/slideLayout967.xml"/><Relationship Id="rId96" Type="http://schemas.openxmlformats.org/officeDocument/2006/relationships/slideLayout" Target="../slideLayouts/slideLayout96.xml"/><Relationship Id="rId161" Type="http://schemas.openxmlformats.org/officeDocument/2006/relationships/slideLayout" Target="../slideLayouts/slideLayout161.xml"/><Relationship Id="rId399" Type="http://schemas.openxmlformats.org/officeDocument/2006/relationships/slideLayout" Target="../slideLayouts/slideLayout399.xml"/><Relationship Id="rId827" Type="http://schemas.openxmlformats.org/officeDocument/2006/relationships/slideLayout" Target="../slideLayouts/slideLayout827.xml"/><Relationship Id="rId1012" Type="http://schemas.openxmlformats.org/officeDocument/2006/relationships/slideLayout" Target="../slideLayouts/slideLayout1012.xml"/><Relationship Id="rId259" Type="http://schemas.openxmlformats.org/officeDocument/2006/relationships/slideLayout" Target="../slideLayouts/slideLayout259.xml"/><Relationship Id="rId466" Type="http://schemas.openxmlformats.org/officeDocument/2006/relationships/slideLayout" Target="../slideLayouts/slideLayout466.xml"/><Relationship Id="rId673" Type="http://schemas.openxmlformats.org/officeDocument/2006/relationships/slideLayout" Target="../slideLayouts/slideLayout673.xml"/><Relationship Id="rId880" Type="http://schemas.openxmlformats.org/officeDocument/2006/relationships/slideLayout" Target="../slideLayouts/slideLayout880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326" Type="http://schemas.openxmlformats.org/officeDocument/2006/relationships/slideLayout" Target="../slideLayouts/slideLayout326.xml"/><Relationship Id="rId533" Type="http://schemas.openxmlformats.org/officeDocument/2006/relationships/slideLayout" Target="../slideLayouts/slideLayout533.xml"/><Relationship Id="rId978" Type="http://schemas.openxmlformats.org/officeDocument/2006/relationships/slideLayout" Target="../slideLayouts/slideLayout978.xml"/><Relationship Id="rId740" Type="http://schemas.openxmlformats.org/officeDocument/2006/relationships/slideLayout" Target="../slideLayouts/slideLayout740.xml"/><Relationship Id="rId838" Type="http://schemas.openxmlformats.org/officeDocument/2006/relationships/slideLayout" Target="../slideLayouts/slideLayout838.xml"/><Relationship Id="rId1023" Type="http://schemas.openxmlformats.org/officeDocument/2006/relationships/slideLayout" Target="../slideLayouts/slideLayout1023.xml"/><Relationship Id="rId172" Type="http://schemas.openxmlformats.org/officeDocument/2006/relationships/slideLayout" Target="../slideLayouts/slideLayout172.xml"/><Relationship Id="rId477" Type="http://schemas.openxmlformats.org/officeDocument/2006/relationships/slideLayout" Target="../slideLayouts/slideLayout477.xml"/><Relationship Id="rId600" Type="http://schemas.openxmlformats.org/officeDocument/2006/relationships/slideLayout" Target="../slideLayouts/slideLayout600.xml"/><Relationship Id="rId684" Type="http://schemas.openxmlformats.org/officeDocument/2006/relationships/slideLayout" Target="../slideLayouts/slideLayout684.xml"/><Relationship Id="rId337" Type="http://schemas.openxmlformats.org/officeDocument/2006/relationships/slideLayout" Target="../slideLayouts/slideLayout337.xml"/><Relationship Id="rId891" Type="http://schemas.openxmlformats.org/officeDocument/2006/relationships/slideLayout" Target="../slideLayouts/slideLayout891.xml"/><Relationship Id="rId905" Type="http://schemas.openxmlformats.org/officeDocument/2006/relationships/slideLayout" Target="../slideLayouts/slideLayout905.xml"/><Relationship Id="rId989" Type="http://schemas.openxmlformats.org/officeDocument/2006/relationships/slideLayout" Target="../slideLayouts/slideLayout989.xml"/><Relationship Id="rId34" Type="http://schemas.openxmlformats.org/officeDocument/2006/relationships/slideLayout" Target="../slideLayouts/slideLayout34.xml"/><Relationship Id="rId544" Type="http://schemas.openxmlformats.org/officeDocument/2006/relationships/slideLayout" Target="../slideLayouts/slideLayout544.xml"/><Relationship Id="rId751" Type="http://schemas.openxmlformats.org/officeDocument/2006/relationships/slideLayout" Target="../slideLayouts/slideLayout751.xml"/><Relationship Id="rId849" Type="http://schemas.openxmlformats.org/officeDocument/2006/relationships/slideLayout" Target="../slideLayouts/slideLayout849.xml"/><Relationship Id="rId183" Type="http://schemas.openxmlformats.org/officeDocument/2006/relationships/slideLayout" Target="../slideLayouts/slideLayout183.xml"/><Relationship Id="rId390" Type="http://schemas.openxmlformats.org/officeDocument/2006/relationships/slideLayout" Target="../slideLayouts/slideLayout390.xml"/><Relationship Id="rId404" Type="http://schemas.openxmlformats.org/officeDocument/2006/relationships/slideLayout" Target="../slideLayouts/slideLayout404.xml"/><Relationship Id="rId611" Type="http://schemas.openxmlformats.org/officeDocument/2006/relationships/slideLayout" Target="../slideLayouts/slideLayout611.xml"/><Relationship Id="rId250" Type="http://schemas.openxmlformats.org/officeDocument/2006/relationships/slideLayout" Target="../slideLayouts/slideLayout250.xml"/><Relationship Id="rId488" Type="http://schemas.openxmlformats.org/officeDocument/2006/relationships/slideLayout" Target="../slideLayouts/slideLayout488.xml"/><Relationship Id="rId695" Type="http://schemas.openxmlformats.org/officeDocument/2006/relationships/slideLayout" Target="../slideLayouts/slideLayout695.xml"/><Relationship Id="rId709" Type="http://schemas.openxmlformats.org/officeDocument/2006/relationships/slideLayout" Target="../slideLayouts/slideLayout709.xml"/><Relationship Id="rId916" Type="http://schemas.openxmlformats.org/officeDocument/2006/relationships/slideLayout" Target="../slideLayouts/slideLayout916.xml"/><Relationship Id="rId45" Type="http://schemas.openxmlformats.org/officeDocument/2006/relationships/slideLayout" Target="../slideLayouts/slideLayout45.xml"/><Relationship Id="rId110" Type="http://schemas.openxmlformats.org/officeDocument/2006/relationships/slideLayout" Target="../slideLayouts/slideLayout110.xml"/><Relationship Id="rId348" Type="http://schemas.openxmlformats.org/officeDocument/2006/relationships/slideLayout" Target="../slideLayouts/slideLayout348.xml"/><Relationship Id="rId555" Type="http://schemas.openxmlformats.org/officeDocument/2006/relationships/slideLayout" Target="../slideLayouts/slideLayout555.xml"/><Relationship Id="rId762" Type="http://schemas.openxmlformats.org/officeDocument/2006/relationships/slideLayout" Target="../slideLayouts/slideLayout762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415" Type="http://schemas.openxmlformats.org/officeDocument/2006/relationships/slideLayout" Target="../slideLayouts/slideLayout415.xml"/><Relationship Id="rId622" Type="http://schemas.openxmlformats.org/officeDocument/2006/relationships/slideLayout" Target="../slideLayouts/slideLayout622.xml"/><Relationship Id="rId261" Type="http://schemas.openxmlformats.org/officeDocument/2006/relationships/slideLayout" Target="../slideLayouts/slideLayout261.xml"/><Relationship Id="rId499" Type="http://schemas.openxmlformats.org/officeDocument/2006/relationships/slideLayout" Target="../slideLayouts/slideLayout499.xml"/><Relationship Id="rId927" Type="http://schemas.openxmlformats.org/officeDocument/2006/relationships/slideLayout" Target="../slideLayouts/slideLayout927.xml"/><Relationship Id="rId56" Type="http://schemas.openxmlformats.org/officeDocument/2006/relationships/slideLayout" Target="../slideLayouts/slideLayout56.xml"/><Relationship Id="rId359" Type="http://schemas.openxmlformats.org/officeDocument/2006/relationships/slideLayout" Target="../slideLayouts/slideLayout359.xml"/><Relationship Id="rId566" Type="http://schemas.openxmlformats.org/officeDocument/2006/relationships/slideLayout" Target="../slideLayouts/slideLayout566.xml"/><Relationship Id="rId773" Type="http://schemas.openxmlformats.org/officeDocument/2006/relationships/slideLayout" Target="../slideLayouts/slideLayout773.xml"/><Relationship Id="rId121" Type="http://schemas.openxmlformats.org/officeDocument/2006/relationships/slideLayout" Target="../slideLayouts/slideLayout121.xml"/><Relationship Id="rId219" Type="http://schemas.openxmlformats.org/officeDocument/2006/relationships/slideLayout" Target="../slideLayouts/slideLayout219.xml"/><Relationship Id="rId426" Type="http://schemas.openxmlformats.org/officeDocument/2006/relationships/slideLayout" Target="../slideLayouts/slideLayout426.xml"/><Relationship Id="rId633" Type="http://schemas.openxmlformats.org/officeDocument/2006/relationships/slideLayout" Target="../slideLayouts/slideLayout633.xml"/><Relationship Id="rId980" Type="http://schemas.openxmlformats.org/officeDocument/2006/relationships/slideLayout" Target="../slideLayouts/slideLayout980.xml"/><Relationship Id="rId840" Type="http://schemas.openxmlformats.org/officeDocument/2006/relationships/slideLayout" Target="../slideLayouts/slideLayout840.xml"/><Relationship Id="rId938" Type="http://schemas.openxmlformats.org/officeDocument/2006/relationships/slideLayout" Target="../slideLayouts/slideLayout938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577" Type="http://schemas.openxmlformats.org/officeDocument/2006/relationships/slideLayout" Target="../slideLayouts/slideLayout577.xml"/><Relationship Id="rId700" Type="http://schemas.openxmlformats.org/officeDocument/2006/relationships/slideLayout" Target="../slideLayouts/slideLayout700.xml"/><Relationship Id="rId132" Type="http://schemas.openxmlformats.org/officeDocument/2006/relationships/slideLayout" Target="../slideLayouts/slideLayout132.xml"/><Relationship Id="rId784" Type="http://schemas.openxmlformats.org/officeDocument/2006/relationships/slideLayout" Target="../slideLayouts/slideLayout784.xml"/><Relationship Id="rId991" Type="http://schemas.openxmlformats.org/officeDocument/2006/relationships/slideLayout" Target="../slideLayouts/slideLayout991.xml"/><Relationship Id="rId437" Type="http://schemas.openxmlformats.org/officeDocument/2006/relationships/slideLayout" Target="../slideLayouts/slideLayout437.xml"/><Relationship Id="rId644" Type="http://schemas.openxmlformats.org/officeDocument/2006/relationships/slideLayout" Target="../slideLayouts/slideLayout644.xml"/><Relationship Id="rId851" Type="http://schemas.openxmlformats.org/officeDocument/2006/relationships/slideLayout" Target="../slideLayouts/slideLayout851.xml"/><Relationship Id="rId283" Type="http://schemas.openxmlformats.org/officeDocument/2006/relationships/slideLayout" Target="../slideLayouts/slideLayout283.xml"/><Relationship Id="rId490" Type="http://schemas.openxmlformats.org/officeDocument/2006/relationships/slideLayout" Target="../slideLayouts/slideLayout490.xml"/><Relationship Id="rId504" Type="http://schemas.openxmlformats.org/officeDocument/2006/relationships/slideLayout" Target="../slideLayouts/slideLayout504.xml"/><Relationship Id="rId711" Type="http://schemas.openxmlformats.org/officeDocument/2006/relationships/slideLayout" Target="../slideLayouts/slideLayout711.xml"/><Relationship Id="rId949" Type="http://schemas.openxmlformats.org/officeDocument/2006/relationships/slideLayout" Target="../slideLayouts/slideLayout949.xml"/><Relationship Id="rId78" Type="http://schemas.openxmlformats.org/officeDocument/2006/relationships/slideLayout" Target="../slideLayouts/slideLayout78.xml"/><Relationship Id="rId143" Type="http://schemas.openxmlformats.org/officeDocument/2006/relationships/slideLayout" Target="../slideLayouts/slideLayout143.xml"/><Relationship Id="rId350" Type="http://schemas.openxmlformats.org/officeDocument/2006/relationships/slideLayout" Target="../slideLayouts/slideLayout350.xml"/><Relationship Id="rId588" Type="http://schemas.openxmlformats.org/officeDocument/2006/relationships/slideLayout" Target="../slideLayouts/slideLayout588.xml"/><Relationship Id="rId795" Type="http://schemas.openxmlformats.org/officeDocument/2006/relationships/slideLayout" Target="../slideLayouts/slideLayout795.xml"/><Relationship Id="rId809" Type="http://schemas.openxmlformats.org/officeDocument/2006/relationships/slideLayout" Target="../slideLayouts/slideLayout809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448" Type="http://schemas.openxmlformats.org/officeDocument/2006/relationships/slideLayout" Target="../slideLayouts/slideLayout448.xml"/><Relationship Id="rId655" Type="http://schemas.openxmlformats.org/officeDocument/2006/relationships/slideLayout" Target="../slideLayouts/slideLayout655.xml"/><Relationship Id="rId862" Type="http://schemas.openxmlformats.org/officeDocument/2006/relationships/slideLayout" Target="../slideLayouts/slideLayout862.xml"/><Relationship Id="rId294" Type="http://schemas.openxmlformats.org/officeDocument/2006/relationships/slideLayout" Target="../slideLayouts/slideLayout294.xml"/><Relationship Id="rId308" Type="http://schemas.openxmlformats.org/officeDocument/2006/relationships/slideLayout" Target="../slideLayouts/slideLayout308.xml"/><Relationship Id="rId515" Type="http://schemas.openxmlformats.org/officeDocument/2006/relationships/slideLayout" Target="../slideLayouts/slideLayout515.xml"/><Relationship Id="rId722" Type="http://schemas.openxmlformats.org/officeDocument/2006/relationships/slideLayout" Target="../slideLayouts/slideLayout722.xml"/><Relationship Id="rId89" Type="http://schemas.openxmlformats.org/officeDocument/2006/relationships/slideLayout" Target="../slideLayouts/slideLayout89.xml"/><Relationship Id="rId154" Type="http://schemas.openxmlformats.org/officeDocument/2006/relationships/slideLayout" Target="../slideLayouts/slideLayout154.xml"/><Relationship Id="rId361" Type="http://schemas.openxmlformats.org/officeDocument/2006/relationships/slideLayout" Target="../slideLayouts/slideLayout361.xml"/><Relationship Id="rId599" Type="http://schemas.openxmlformats.org/officeDocument/2006/relationships/slideLayout" Target="../slideLayouts/slideLayout599.xml"/><Relationship Id="rId1005" Type="http://schemas.openxmlformats.org/officeDocument/2006/relationships/slideLayout" Target="../slideLayouts/slideLayout1005.xml"/><Relationship Id="rId459" Type="http://schemas.openxmlformats.org/officeDocument/2006/relationships/slideLayout" Target="../slideLayouts/slideLayout459.xml"/><Relationship Id="rId666" Type="http://schemas.openxmlformats.org/officeDocument/2006/relationships/slideLayout" Target="../slideLayouts/slideLayout666.xml"/><Relationship Id="rId873" Type="http://schemas.openxmlformats.org/officeDocument/2006/relationships/slideLayout" Target="../slideLayouts/slideLayout873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319" Type="http://schemas.openxmlformats.org/officeDocument/2006/relationships/slideLayout" Target="../slideLayouts/slideLayout319.xml"/><Relationship Id="rId526" Type="http://schemas.openxmlformats.org/officeDocument/2006/relationships/slideLayout" Target="../slideLayouts/slideLayout526.xml"/><Relationship Id="rId733" Type="http://schemas.openxmlformats.org/officeDocument/2006/relationships/slideLayout" Target="../slideLayouts/slideLayout733.xml"/><Relationship Id="rId940" Type="http://schemas.openxmlformats.org/officeDocument/2006/relationships/slideLayout" Target="../slideLayouts/slideLayout940.xml"/><Relationship Id="rId1016" Type="http://schemas.openxmlformats.org/officeDocument/2006/relationships/slideLayout" Target="../slideLayouts/slideLayout1016.xml"/><Relationship Id="rId165" Type="http://schemas.openxmlformats.org/officeDocument/2006/relationships/slideLayout" Target="../slideLayouts/slideLayout165.xml"/><Relationship Id="rId372" Type="http://schemas.openxmlformats.org/officeDocument/2006/relationships/slideLayout" Target="../slideLayouts/slideLayout372.xml"/><Relationship Id="rId677" Type="http://schemas.openxmlformats.org/officeDocument/2006/relationships/slideLayout" Target="../slideLayouts/slideLayout677.xml"/><Relationship Id="rId800" Type="http://schemas.openxmlformats.org/officeDocument/2006/relationships/slideLayout" Target="../slideLayouts/slideLayout800.xml"/><Relationship Id="rId232" Type="http://schemas.openxmlformats.org/officeDocument/2006/relationships/slideLayout" Target="../slideLayouts/slideLayout232.xml"/><Relationship Id="rId884" Type="http://schemas.openxmlformats.org/officeDocument/2006/relationships/slideLayout" Target="../slideLayouts/slideLayout884.xml"/><Relationship Id="rId27" Type="http://schemas.openxmlformats.org/officeDocument/2006/relationships/slideLayout" Target="../slideLayouts/slideLayout27.xml"/><Relationship Id="rId537" Type="http://schemas.openxmlformats.org/officeDocument/2006/relationships/slideLayout" Target="../slideLayouts/slideLayout537.xml"/><Relationship Id="rId744" Type="http://schemas.openxmlformats.org/officeDocument/2006/relationships/slideLayout" Target="../slideLayouts/slideLayout744.xml"/><Relationship Id="rId951" Type="http://schemas.openxmlformats.org/officeDocument/2006/relationships/slideLayout" Target="../slideLayouts/slideLayout951.xml"/><Relationship Id="rId80" Type="http://schemas.openxmlformats.org/officeDocument/2006/relationships/slideLayout" Target="../slideLayouts/slideLayout80.xml"/><Relationship Id="rId176" Type="http://schemas.openxmlformats.org/officeDocument/2006/relationships/slideLayout" Target="../slideLayouts/slideLayout176.xml"/><Relationship Id="rId383" Type="http://schemas.openxmlformats.org/officeDocument/2006/relationships/slideLayout" Target="../slideLayouts/slideLayout383.xml"/><Relationship Id="rId590" Type="http://schemas.openxmlformats.org/officeDocument/2006/relationships/slideLayout" Target="../slideLayouts/slideLayout590.xml"/><Relationship Id="rId604" Type="http://schemas.openxmlformats.org/officeDocument/2006/relationships/slideLayout" Target="../slideLayouts/slideLayout604.xml"/><Relationship Id="rId811" Type="http://schemas.openxmlformats.org/officeDocument/2006/relationships/slideLayout" Target="../slideLayouts/slideLayout811.xml"/><Relationship Id="rId1027" Type="http://schemas.openxmlformats.org/officeDocument/2006/relationships/oleObject" Target="../embeddings/oleObject1.bin"/><Relationship Id="rId243" Type="http://schemas.openxmlformats.org/officeDocument/2006/relationships/slideLayout" Target="../slideLayouts/slideLayout243.xml"/><Relationship Id="rId450" Type="http://schemas.openxmlformats.org/officeDocument/2006/relationships/slideLayout" Target="../slideLayouts/slideLayout450.xml"/><Relationship Id="rId688" Type="http://schemas.openxmlformats.org/officeDocument/2006/relationships/slideLayout" Target="../slideLayouts/slideLayout688.xml"/><Relationship Id="rId895" Type="http://schemas.openxmlformats.org/officeDocument/2006/relationships/slideLayout" Target="../slideLayouts/slideLayout895.xml"/><Relationship Id="rId909" Type="http://schemas.openxmlformats.org/officeDocument/2006/relationships/slideLayout" Target="../slideLayouts/slideLayout909.xml"/><Relationship Id="rId38" Type="http://schemas.openxmlformats.org/officeDocument/2006/relationships/slideLayout" Target="../slideLayouts/slideLayout38.xml"/><Relationship Id="rId103" Type="http://schemas.openxmlformats.org/officeDocument/2006/relationships/slideLayout" Target="../slideLayouts/slideLayout103.xml"/><Relationship Id="rId310" Type="http://schemas.openxmlformats.org/officeDocument/2006/relationships/slideLayout" Target="../slideLayouts/slideLayout310.xml"/><Relationship Id="rId548" Type="http://schemas.openxmlformats.org/officeDocument/2006/relationships/slideLayout" Target="../slideLayouts/slideLayout548.xml"/><Relationship Id="rId755" Type="http://schemas.openxmlformats.org/officeDocument/2006/relationships/slideLayout" Target="../slideLayouts/slideLayout755.xml"/><Relationship Id="rId962" Type="http://schemas.openxmlformats.org/officeDocument/2006/relationships/slideLayout" Target="../slideLayouts/slideLayout962.xml"/><Relationship Id="rId91" Type="http://schemas.openxmlformats.org/officeDocument/2006/relationships/slideLayout" Target="../slideLayouts/slideLayout91.xml"/><Relationship Id="rId187" Type="http://schemas.openxmlformats.org/officeDocument/2006/relationships/slideLayout" Target="../slideLayouts/slideLayout187.xml"/><Relationship Id="rId394" Type="http://schemas.openxmlformats.org/officeDocument/2006/relationships/slideLayout" Target="../slideLayouts/slideLayout394.xml"/><Relationship Id="rId408" Type="http://schemas.openxmlformats.org/officeDocument/2006/relationships/slideLayout" Target="../slideLayouts/slideLayout408.xml"/><Relationship Id="rId615" Type="http://schemas.openxmlformats.org/officeDocument/2006/relationships/slideLayout" Target="../slideLayouts/slideLayout615.xml"/><Relationship Id="rId822" Type="http://schemas.openxmlformats.org/officeDocument/2006/relationships/slideLayout" Target="../slideLayouts/slideLayout822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40.xml"/><Relationship Id="rId299" Type="http://schemas.openxmlformats.org/officeDocument/2006/relationships/slideLayout" Target="../slideLayouts/slideLayout1322.xml"/><Relationship Id="rId303" Type="http://schemas.openxmlformats.org/officeDocument/2006/relationships/oleObject" Target="../embeddings/oleObject480.bin"/><Relationship Id="rId21" Type="http://schemas.openxmlformats.org/officeDocument/2006/relationships/slideLayout" Target="../slideLayouts/slideLayout1044.xml"/><Relationship Id="rId42" Type="http://schemas.openxmlformats.org/officeDocument/2006/relationships/slideLayout" Target="../slideLayouts/slideLayout1065.xml"/><Relationship Id="rId63" Type="http://schemas.openxmlformats.org/officeDocument/2006/relationships/slideLayout" Target="../slideLayouts/slideLayout1086.xml"/><Relationship Id="rId84" Type="http://schemas.openxmlformats.org/officeDocument/2006/relationships/slideLayout" Target="../slideLayouts/slideLayout1107.xml"/><Relationship Id="rId138" Type="http://schemas.openxmlformats.org/officeDocument/2006/relationships/slideLayout" Target="../slideLayouts/slideLayout1161.xml"/><Relationship Id="rId159" Type="http://schemas.openxmlformats.org/officeDocument/2006/relationships/slideLayout" Target="../slideLayouts/slideLayout1182.xml"/><Relationship Id="rId170" Type="http://schemas.openxmlformats.org/officeDocument/2006/relationships/slideLayout" Target="../slideLayouts/slideLayout1193.xml"/><Relationship Id="rId191" Type="http://schemas.openxmlformats.org/officeDocument/2006/relationships/slideLayout" Target="../slideLayouts/slideLayout1214.xml"/><Relationship Id="rId205" Type="http://schemas.openxmlformats.org/officeDocument/2006/relationships/slideLayout" Target="../slideLayouts/slideLayout1228.xml"/><Relationship Id="rId226" Type="http://schemas.openxmlformats.org/officeDocument/2006/relationships/slideLayout" Target="../slideLayouts/slideLayout1249.xml"/><Relationship Id="rId247" Type="http://schemas.openxmlformats.org/officeDocument/2006/relationships/slideLayout" Target="../slideLayouts/slideLayout1270.xml"/><Relationship Id="rId107" Type="http://schemas.openxmlformats.org/officeDocument/2006/relationships/slideLayout" Target="../slideLayouts/slideLayout1130.xml"/><Relationship Id="rId268" Type="http://schemas.openxmlformats.org/officeDocument/2006/relationships/slideLayout" Target="../slideLayouts/slideLayout1291.xml"/><Relationship Id="rId289" Type="http://schemas.openxmlformats.org/officeDocument/2006/relationships/slideLayout" Target="../slideLayouts/slideLayout1312.xml"/><Relationship Id="rId11" Type="http://schemas.openxmlformats.org/officeDocument/2006/relationships/slideLayout" Target="../slideLayouts/slideLayout1034.xml"/><Relationship Id="rId32" Type="http://schemas.openxmlformats.org/officeDocument/2006/relationships/slideLayout" Target="../slideLayouts/slideLayout1055.xml"/><Relationship Id="rId53" Type="http://schemas.openxmlformats.org/officeDocument/2006/relationships/slideLayout" Target="../slideLayouts/slideLayout1076.xml"/><Relationship Id="rId74" Type="http://schemas.openxmlformats.org/officeDocument/2006/relationships/slideLayout" Target="../slideLayouts/slideLayout1097.xml"/><Relationship Id="rId128" Type="http://schemas.openxmlformats.org/officeDocument/2006/relationships/slideLayout" Target="../slideLayouts/slideLayout1151.xml"/><Relationship Id="rId149" Type="http://schemas.openxmlformats.org/officeDocument/2006/relationships/slideLayout" Target="../slideLayouts/slideLayout1172.xml"/><Relationship Id="rId5" Type="http://schemas.openxmlformats.org/officeDocument/2006/relationships/slideLayout" Target="../slideLayouts/slideLayout1028.xml"/><Relationship Id="rId95" Type="http://schemas.openxmlformats.org/officeDocument/2006/relationships/slideLayout" Target="../slideLayouts/slideLayout1118.xml"/><Relationship Id="rId160" Type="http://schemas.openxmlformats.org/officeDocument/2006/relationships/slideLayout" Target="../slideLayouts/slideLayout1183.xml"/><Relationship Id="rId181" Type="http://schemas.openxmlformats.org/officeDocument/2006/relationships/slideLayout" Target="../slideLayouts/slideLayout1204.xml"/><Relationship Id="rId216" Type="http://schemas.openxmlformats.org/officeDocument/2006/relationships/slideLayout" Target="../slideLayouts/slideLayout1239.xml"/><Relationship Id="rId237" Type="http://schemas.openxmlformats.org/officeDocument/2006/relationships/slideLayout" Target="../slideLayouts/slideLayout1260.xml"/><Relationship Id="rId258" Type="http://schemas.openxmlformats.org/officeDocument/2006/relationships/slideLayout" Target="../slideLayouts/slideLayout1281.xml"/><Relationship Id="rId279" Type="http://schemas.openxmlformats.org/officeDocument/2006/relationships/slideLayout" Target="../slideLayouts/slideLayout1302.xml"/><Relationship Id="rId22" Type="http://schemas.openxmlformats.org/officeDocument/2006/relationships/slideLayout" Target="../slideLayouts/slideLayout1045.xml"/><Relationship Id="rId43" Type="http://schemas.openxmlformats.org/officeDocument/2006/relationships/slideLayout" Target="../slideLayouts/slideLayout1066.xml"/><Relationship Id="rId64" Type="http://schemas.openxmlformats.org/officeDocument/2006/relationships/slideLayout" Target="../slideLayouts/slideLayout1087.xml"/><Relationship Id="rId118" Type="http://schemas.openxmlformats.org/officeDocument/2006/relationships/slideLayout" Target="../slideLayouts/slideLayout1141.xml"/><Relationship Id="rId139" Type="http://schemas.openxmlformats.org/officeDocument/2006/relationships/slideLayout" Target="../slideLayouts/slideLayout1162.xml"/><Relationship Id="rId290" Type="http://schemas.openxmlformats.org/officeDocument/2006/relationships/slideLayout" Target="../slideLayouts/slideLayout1313.xml"/><Relationship Id="rId304" Type="http://schemas.openxmlformats.org/officeDocument/2006/relationships/image" Target="../media/image1.emf"/><Relationship Id="rId85" Type="http://schemas.openxmlformats.org/officeDocument/2006/relationships/slideLayout" Target="../slideLayouts/slideLayout1108.xml"/><Relationship Id="rId150" Type="http://schemas.openxmlformats.org/officeDocument/2006/relationships/slideLayout" Target="../slideLayouts/slideLayout1173.xml"/><Relationship Id="rId171" Type="http://schemas.openxmlformats.org/officeDocument/2006/relationships/slideLayout" Target="../slideLayouts/slideLayout1194.xml"/><Relationship Id="rId192" Type="http://schemas.openxmlformats.org/officeDocument/2006/relationships/slideLayout" Target="../slideLayouts/slideLayout1215.xml"/><Relationship Id="rId206" Type="http://schemas.openxmlformats.org/officeDocument/2006/relationships/slideLayout" Target="../slideLayouts/slideLayout1229.xml"/><Relationship Id="rId227" Type="http://schemas.openxmlformats.org/officeDocument/2006/relationships/slideLayout" Target="../slideLayouts/slideLayout1250.xml"/><Relationship Id="rId248" Type="http://schemas.openxmlformats.org/officeDocument/2006/relationships/slideLayout" Target="../slideLayouts/slideLayout1271.xml"/><Relationship Id="rId269" Type="http://schemas.openxmlformats.org/officeDocument/2006/relationships/slideLayout" Target="../slideLayouts/slideLayout1292.xml"/><Relationship Id="rId12" Type="http://schemas.openxmlformats.org/officeDocument/2006/relationships/slideLayout" Target="../slideLayouts/slideLayout1035.xml"/><Relationship Id="rId33" Type="http://schemas.openxmlformats.org/officeDocument/2006/relationships/slideLayout" Target="../slideLayouts/slideLayout1056.xml"/><Relationship Id="rId108" Type="http://schemas.openxmlformats.org/officeDocument/2006/relationships/slideLayout" Target="../slideLayouts/slideLayout1131.xml"/><Relationship Id="rId129" Type="http://schemas.openxmlformats.org/officeDocument/2006/relationships/slideLayout" Target="../slideLayouts/slideLayout1152.xml"/><Relationship Id="rId280" Type="http://schemas.openxmlformats.org/officeDocument/2006/relationships/slideLayout" Target="../slideLayouts/slideLayout1303.xml"/><Relationship Id="rId54" Type="http://schemas.openxmlformats.org/officeDocument/2006/relationships/slideLayout" Target="../slideLayouts/slideLayout1077.xml"/><Relationship Id="rId75" Type="http://schemas.openxmlformats.org/officeDocument/2006/relationships/slideLayout" Target="../slideLayouts/slideLayout1098.xml"/><Relationship Id="rId96" Type="http://schemas.openxmlformats.org/officeDocument/2006/relationships/slideLayout" Target="../slideLayouts/slideLayout1119.xml"/><Relationship Id="rId140" Type="http://schemas.openxmlformats.org/officeDocument/2006/relationships/slideLayout" Target="../slideLayouts/slideLayout1163.xml"/><Relationship Id="rId161" Type="http://schemas.openxmlformats.org/officeDocument/2006/relationships/slideLayout" Target="../slideLayouts/slideLayout1184.xml"/><Relationship Id="rId182" Type="http://schemas.openxmlformats.org/officeDocument/2006/relationships/slideLayout" Target="../slideLayouts/slideLayout1205.xml"/><Relationship Id="rId217" Type="http://schemas.openxmlformats.org/officeDocument/2006/relationships/slideLayout" Target="../slideLayouts/slideLayout1240.xml"/><Relationship Id="rId6" Type="http://schemas.openxmlformats.org/officeDocument/2006/relationships/slideLayout" Target="../slideLayouts/slideLayout1029.xml"/><Relationship Id="rId238" Type="http://schemas.openxmlformats.org/officeDocument/2006/relationships/slideLayout" Target="../slideLayouts/slideLayout1261.xml"/><Relationship Id="rId259" Type="http://schemas.openxmlformats.org/officeDocument/2006/relationships/slideLayout" Target="../slideLayouts/slideLayout1282.xml"/><Relationship Id="rId23" Type="http://schemas.openxmlformats.org/officeDocument/2006/relationships/slideLayout" Target="../slideLayouts/slideLayout1046.xml"/><Relationship Id="rId119" Type="http://schemas.openxmlformats.org/officeDocument/2006/relationships/slideLayout" Target="../slideLayouts/slideLayout1142.xml"/><Relationship Id="rId270" Type="http://schemas.openxmlformats.org/officeDocument/2006/relationships/slideLayout" Target="../slideLayouts/slideLayout1293.xml"/><Relationship Id="rId291" Type="http://schemas.openxmlformats.org/officeDocument/2006/relationships/slideLayout" Target="../slideLayouts/slideLayout1314.xml"/><Relationship Id="rId44" Type="http://schemas.openxmlformats.org/officeDocument/2006/relationships/slideLayout" Target="../slideLayouts/slideLayout1067.xml"/><Relationship Id="rId65" Type="http://schemas.openxmlformats.org/officeDocument/2006/relationships/slideLayout" Target="../slideLayouts/slideLayout1088.xml"/><Relationship Id="rId86" Type="http://schemas.openxmlformats.org/officeDocument/2006/relationships/slideLayout" Target="../slideLayouts/slideLayout1109.xml"/><Relationship Id="rId130" Type="http://schemas.openxmlformats.org/officeDocument/2006/relationships/slideLayout" Target="../slideLayouts/slideLayout1153.xml"/><Relationship Id="rId151" Type="http://schemas.openxmlformats.org/officeDocument/2006/relationships/slideLayout" Target="../slideLayouts/slideLayout1174.xml"/><Relationship Id="rId172" Type="http://schemas.openxmlformats.org/officeDocument/2006/relationships/slideLayout" Target="../slideLayouts/slideLayout1195.xml"/><Relationship Id="rId193" Type="http://schemas.openxmlformats.org/officeDocument/2006/relationships/slideLayout" Target="../slideLayouts/slideLayout1216.xml"/><Relationship Id="rId207" Type="http://schemas.openxmlformats.org/officeDocument/2006/relationships/slideLayout" Target="../slideLayouts/slideLayout1230.xml"/><Relationship Id="rId228" Type="http://schemas.openxmlformats.org/officeDocument/2006/relationships/slideLayout" Target="../slideLayouts/slideLayout1251.xml"/><Relationship Id="rId249" Type="http://schemas.openxmlformats.org/officeDocument/2006/relationships/slideLayout" Target="../slideLayouts/slideLayout1272.xml"/><Relationship Id="rId13" Type="http://schemas.openxmlformats.org/officeDocument/2006/relationships/slideLayout" Target="../slideLayouts/slideLayout1036.xml"/><Relationship Id="rId109" Type="http://schemas.openxmlformats.org/officeDocument/2006/relationships/slideLayout" Target="../slideLayouts/slideLayout1132.xml"/><Relationship Id="rId260" Type="http://schemas.openxmlformats.org/officeDocument/2006/relationships/slideLayout" Target="../slideLayouts/slideLayout1283.xml"/><Relationship Id="rId281" Type="http://schemas.openxmlformats.org/officeDocument/2006/relationships/slideLayout" Target="../slideLayouts/slideLayout1304.xml"/><Relationship Id="rId34" Type="http://schemas.openxmlformats.org/officeDocument/2006/relationships/slideLayout" Target="../slideLayouts/slideLayout1057.xml"/><Relationship Id="rId55" Type="http://schemas.openxmlformats.org/officeDocument/2006/relationships/slideLayout" Target="../slideLayouts/slideLayout1078.xml"/><Relationship Id="rId76" Type="http://schemas.openxmlformats.org/officeDocument/2006/relationships/slideLayout" Target="../slideLayouts/slideLayout1099.xml"/><Relationship Id="rId97" Type="http://schemas.openxmlformats.org/officeDocument/2006/relationships/slideLayout" Target="../slideLayouts/slideLayout1120.xml"/><Relationship Id="rId120" Type="http://schemas.openxmlformats.org/officeDocument/2006/relationships/slideLayout" Target="../slideLayouts/slideLayout1143.xml"/><Relationship Id="rId141" Type="http://schemas.openxmlformats.org/officeDocument/2006/relationships/slideLayout" Target="../slideLayouts/slideLayout1164.xml"/><Relationship Id="rId7" Type="http://schemas.openxmlformats.org/officeDocument/2006/relationships/slideLayout" Target="../slideLayouts/slideLayout1030.xml"/><Relationship Id="rId162" Type="http://schemas.openxmlformats.org/officeDocument/2006/relationships/slideLayout" Target="../slideLayouts/slideLayout1185.xml"/><Relationship Id="rId183" Type="http://schemas.openxmlformats.org/officeDocument/2006/relationships/slideLayout" Target="../slideLayouts/slideLayout1206.xml"/><Relationship Id="rId218" Type="http://schemas.openxmlformats.org/officeDocument/2006/relationships/slideLayout" Target="../slideLayouts/slideLayout1241.xml"/><Relationship Id="rId239" Type="http://schemas.openxmlformats.org/officeDocument/2006/relationships/slideLayout" Target="../slideLayouts/slideLayout1262.xml"/><Relationship Id="rId2" Type="http://schemas.openxmlformats.org/officeDocument/2006/relationships/slideLayout" Target="../slideLayouts/slideLayout1025.xml"/><Relationship Id="rId29" Type="http://schemas.openxmlformats.org/officeDocument/2006/relationships/slideLayout" Target="../slideLayouts/slideLayout1052.xml"/><Relationship Id="rId250" Type="http://schemas.openxmlformats.org/officeDocument/2006/relationships/slideLayout" Target="../slideLayouts/slideLayout1273.xml"/><Relationship Id="rId255" Type="http://schemas.openxmlformats.org/officeDocument/2006/relationships/slideLayout" Target="../slideLayouts/slideLayout1278.xml"/><Relationship Id="rId271" Type="http://schemas.openxmlformats.org/officeDocument/2006/relationships/slideLayout" Target="../slideLayouts/slideLayout1294.xml"/><Relationship Id="rId276" Type="http://schemas.openxmlformats.org/officeDocument/2006/relationships/slideLayout" Target="../slideLayouts/slideLayout1299.xml"/><Relationship Id="rId292" Type="http://schemas.openxmlformats.org/officeDocument/2006/relationships/slideLayout" Target="../slideLayouts/slideLayout1315.xml"/><Relationship Id="rId297" Type="http://schemas.openxmlformats.org/officeDocument/2006/relationships/slideLayout" Target="../slideLayouts/slideLayout1320.xml"/><Relationship Id="rId24" Type="http://schemas.openxmlformats.org/officeDocument/2006/relationships/slideLayout" Target="../slideLayouts/slideLayout1047.xml"/><Relationship Id="rId40" Type="http://schemas.openxmlformats.org/officeDocument/2006/relationships/slideLayout" Target="../slideLayouts/slideLayout1063.xml"/><Relationship Id="rId45" Type="http://schemas.openxmlformats.org/officeDocument/2006/relationships/slideLayout" Target="../slideLayouts/slideLayout1068.xml"/><Relationship Id="rId66" Type="http://schemas.openxmlformats.org/officeDocument/2006/relationships/slideLayout" Target="../slideLayouts/slideLayout1089.xml"/><Relationship Id="rId87" Type="http://schemas.openxmlformats.org/officeDocument/2006/relationships/slideLayout" Target="../slideLayouts/slideLayout1110.xml"/><Relationship Id="rId110" Type="http://schemas.openxmlformats.org/officeDocument/2006/relationships/slideLayout" Target="../slideLayouts/slideLayout1133.xml"/><Relationship Id="rId115" Type="http://schemas.openxmlformats.org/officeDocument/2006/relationships/slideLayout" Target="../slideLayouts/slideLayout1138.xml"/><Relationship Id="rId131" Type="http://schemas.openxmlformats.org/officeDocument/2006/relationships/slideLayout" Target="../slideLayouts/slideLayout1154.xml"/><Relationship Id="rId136" Type="http://schemas.openxmlformats.org/officeDocument/2006/relationships/slideLayout" Target="../slideLayouts/slideLayout1159.xml"/><Relationship Id="rId157" Type="http://schemas.openxmlformats.org/officeDocument/2006/relationships/slideLayout" Target="../slideLayouts/slideLayout1180.xml"/><Relationship Id="rId178" Type="http://schemas.openxmlformats.org/officeDocument/2006/relationships/slideLayout" Target="../slideLayouts/slideLayout1201.xml"/><Relationship Id="rId301" Type="http://schemas.openxmlformats.org/officeDocument/2006/relationships/vmlDrawing" Target="../drawings/vmlDrawing480.vml"/><Relationship Id="rId61" Type="http://schemas.openxmlformats.org/officeDocument/2006/relationships/slideLayout" Target="../slideLayouts/slideLayout1084.xml"/><Relationship Id="rId82" Type="http://schemas.openxmlformats.org/officeDocument/2006/relationships/slideLayout" Target="../slideLayouts/slideLayout1105.xml"/><Relationship Id="rId152" Type="http://schemas.openxmlformats.org/officeDocument/2006/relationships/slideLayout" Target="../slideLayouts/slideLayout1175.xml"/><Relationship Id="rId173" Type="http://schemas.openxmlformats.org/officeDocument/2006/relationships/slideLayout" Target="../slideLayouts/slideLayout1196.xml"/><Relationship Id="rId194" Type="http://schemas.openxmlformats.org/officeDocument/2006/relationships/slideLayout" Target="../slideLayouts/slideLayout1217.xml"/><Relationship Id="rId199" Type="http://schemas.openxmlformats.org/officeDocument/2006/relationships/slideLayout" Target="../slideLayouts/slideLayout1222.xml"/><Relationship Id="rId203" Type="http://schemas.openxmlformats.org/officeDocument/2006/relationships/slideLayout" Target="../slideLayouts/slideLayout1226.xml"/><Relationship Id="rId208" Type="http://schemas.openxmlformats.org/officeDocument/2006/relationships/slideLayout" Target="../slideLayouts/slideLayout1231.xml"/><Relationship Id="rId229" Type="http://schemas.openxmlformats.org/officeDocument/2006/relationships/slideLayout" Target="../slideLayouts/slideLayout1252.xml"/><Relationship Id="rId19" Type="http://schemas.openxmlformats.org/officeDocument/2006/relationships/slideLayout" Target="../slideLayouts/slideLayout1042.xml"/><Relationship Id="rId224" Type="http://schemas.openxmlformats.org/officeDocument/2006/relationships/slideLayout" Target="../slideLayouts/slideLayout1247.xml"/><Relationship Id="rId240" Type="http://schemas.openxmlformats.org/officeDocument/2006/relationships/slideLayout" Target="../slideLayouts/slideLayout1263.xml"/><Relationship Id="rId245" Type="http://schemas.openxmlformats.org/officeDocument/2006/relationships/slideLayout" Target="../slideLayouts/slideLayout1268.xml"/><Relationship Id="rId261" Type="http://schemas.openxmlformats.org/officeDocument/2006/relationships/slideLayout" Target="../slideLayouts/slideLayout1284.xml"/><Relationship Id="rId266" Type="http://schemas.openxmlformats.org/officeDocument/2006/relationships/slideLayout" Target="../slideLayouts/slideLayout1289.xml"/><Relationship Id="rId287" Type="http://schemas.openxmlformats.org/officeDocument/2006/relationships/slideLayout" Target="../slideLayouts/slideLayout1310.xml"/><Relationship Id="rId14" Type="http://schemas.openxmlformats.org/officeDocument/2006/relationships/slideLayout" Target="../slideLayouts/slideLayout1037.xml"/><Relationship Id="rId30" Type="http://schemas.openxmlformats.org/officeDocument/2006/relationships/slideLayout" Target="../slideLayouts/slideLayout1053.xml"/><Relationship Id="rId35" Type="http://schemas.openxmlformats.org/officeDocument/2006/relationships/slideLayout" Target="../slideLayouts/slideLayout1058.xml"/><Relationship Id="rId56" Type="http://schemas.openxmlformats.org/officeDocument/2006/relationships/slideLayout" Target="../slideLayouts/slideLayout1079.xml"/><Relationship Id="rId77" Type="http://schemas.openxmlformats.org/officeDocument/2006/relationships/slideLayout" Target="../slideLayouts/slideLayout1100.xml"/><Relationship Id="rId100" Type="http://schemas.openxmlformats.org/officeDocument/2006/relationships/slideLayout" Target="../slideLayouts/slideLayout1123.xml"/><Relationship Id="rId105" Type="http://schemas.openxmlformats.org/officeDocument/2006/relationships/slideLayout" Target="../slideLayouts/slideLayout1128.xml"/><Relationship Id="rId126" Type="http://schemas.openxmlformats.org/officeDocument/2006/relationships/slideLayout" Target="../slideLayouts/slideLayout1149.xml"/><Relationship Id="rId147" Type="http://schemas.openxmlformats.org/officeDocument/2006/relationships/slideLayout" Target="../slideLayouts/slideLayout1170.xml"/><Relationship Id="rId168" Type="http://schemas.openxmlformats.org/officeDocument/2006/relationships/slideLayout" Target="../slideLayouts/slideLayout1191.xml"/><Relationship Id="rId282" Type="http://schemas.openxmlformats.org/officeDocument/2006/relationships/slideLayout" Target="../slideLayouts/slideLayout1305.xml"/><Relationship Id="rId8" Type="http://schemas.openxmlformats.org/officeDocument/2006/relationships/slideLayout" Target="../slideLayouts/slideLayout1031.xml"/><Relationship Id="rId51" Type="http://schemas.openxmlformats.org/officeDocument/2006/relationships/slideLayout" Target="../slideLayouts/slideLayout1074.xml"/><Relationship Id="rId72" Type="http://schemas.openxmlformats.org/officeDocument/2006/relationships/slideLayout" Target="../slideLayouts/slideLayout1095.xml"/><Relationship Id="rId93" Type="http://schemas.openxmlformats.org/officeDocument/2006/relationships/slideLayout" Target="../slideLayouts/slideLayout1116.xml"/><Relationship Id="rId98" Type="http://schemas.openxmlformats.org/officeDocument/2006/relationships/slideLayout" Target="../slideLayouts/slideLayout1121.xml"/><Relationship Id="rId121" Type="http://schemas.openxmlformats.org/officeDocument/2006/relationships/slideLayout" Target="../slideLayouts/slideLayout1144.xml"/><Relationship Id="rId142" Type="http://schemas.openxmlformats.org/officeDocument/2006/relationships/slideLayout" Target="../slideLayouts/slideLayout1165.xml"/><Relationship Id="rId163" Type="http://schemas.openxmlformats.org/officeDocument/2006/relationships/slideLayout" Target="../slideLayouts/slideLayout1186.xml"/><Relationship Id="rId184" Type="http://schemas.openxmlformats.org/officeDocument/2006/relationships/slideLayout" Target="../slideLayouts/slideLayout1207.xml"/><Relationship Id="rId189" Type="http://schemas.openxmlformats.org/officeDocument/2006/relationships/slideLayout" Target="../slideLayouts/slideLayout1212.xml"/><Relationship Id="rId219" Type="http://schemas.openxmlformats.org/officeDocument/2006/relationships/slideLayout" Target="../slideLayouts/slideLayout1242.xml"/><Relationship Id="rId3" Type="http://schemas.openxmlformats.org/officeDocument/2006/relationships/slideLayout" Target="../slideLayouts/slideLayout1026.xml"/><Relationship Id="rId214" Type="http://schemas.openxmlformats.org/officeDocument/2006/relationships/slideLayout" Target="../slideLayouts/slideLayout1237.xml"/><Relationship Id="rId230" Type="http://schemas.openxmlformats.org/officeDocument/2006/relationships/slideLayout" Target="../slideLayouts/slideLayout1253.xml"/><Relationship Id="rId235" Type="http://schemas.openxmlformats.org/officeDocument/2006/relationships/slideLayout" Target="../slideLayouts/slideLayout1258.xml"/><Relationship Id="rId251" Type="http://schemas.openxmlformats.org/officeDocument/2006/relationships/slideLayout" Target="../slideLayouts/slideLayout1274.xml"/><Relationship Id="rId256" Type="http://schemas.openxmlformats.org/officeDocument/2006/relationships/slideLayout" Target="../slideLayouts/slideLayout1279.xml"/><Relationship Id="rId277" Type="http://schemas.openxmlformats.org/officeDocument/2006/relationships/slideLayout" Target="../slideLayouts/slideLayout1300.xml"/><Relationship Id="rId298" Type="http://schemas.openxmlformats.org/officeDocument/2006/relationships/slideLayout" Target="../slideLayouts/slideLayout1321.xml"/><Relationship Id="rId25" Type="http://schemas.openxmlformats.org/officeDocument/2006/relationships/slideLayout" Target="../slideLayouts/slideLayout1048.xml"/><Relationship Id="rId46" Type="http://schemas.openxmlformats.org/officeDocument/2006/relationships/slideLayout" Target="../slideLayouts/slideLayout1069.xml"/><Relationship Id="rId67" Type="http://schemas.openxmlformats.org/officeDocument/2006/relationships/slideLayout" Target="../slideLayouts/slideLayout1090.xml"/><Relationship Id="rId116" Type="http://schemas.openxmlformats.org/officeDocument/2006/relationships/slideLayout" Target="../slideLayouts/slideLayout1139.xml"/><Relationship Id="rId137" Type="http://schemas.openxmlformats.org/officeDocument/2006/relationships/slideLayout" Target="../slideLayouts/slideLayout1160.xml"/><Relationship Id="rId158" Type="http://schemas.openxmlformats.org/officeDocument/2006/relationships/slideLayout" Target="../slideLayouts/slideLayout1181.xml"/><Relationship Id="rId272" Type="http://schemas.openxmlformats.org/officeDocument/2006/relationships/slideLayout" Target="../slideLayouts/slideLayout1295.xml"/><Relationship Id="rId293" Type="http://schemas.openxmlformats.org/officeDocument/2006/relationships/slideLayout" Target="../slideLayouts/slideLayout1316.xml"/><Relationship Id="rId302" Type="http://schemas.openxmlformats.org/officeDocument/2006/relationships/tags" Target="../tags/tag481.xml"/><Relationship Id="rId20" Type="http://schemas.openxmlformats.org/officeDocument/2006/relationships/slideLayout" Target="../slideLayouts/slideLayout1043.xml"/><Relationship Id="rId41" Type="http://schemas.openxmlformats.org/officeDocument/2006/relationships/slideLayout" Target="../slideLayouts/slideLayout1064.xml"/><Relationship Id="rId62" Type="http://schemas.openxmlformats.org/officeDocument/2006/relationships/slideLayout" Target="../slideLayouts/slideLayout1085.xml"/><Relationship Id="rId83" Type="http://schemas.openxmlformats.org/officeDocument/2006/relationships/slideLayout" Target="../slideLayouts/slideLayout1106.xml"/><Relationship Id="rId88" Type="http://schemas.openxmlformats.org/officeDocument/2006/relationships/slideLayout" Target="../slideLayouts/slideLayout1111.xml"/><Relationship Id="rId111" Type="http://schemas.openxmlformats.org/officeDocument/2006/relationships/slideLayout" Target="../slideLayouts/slideLayout1134.xml"/><Relationship Id="rId132" Type="http://schemas.openxmlformats.org/officeDocument/2006/relationships/slideLayout" Target="../slideLayouts/slideLayout1155.xml"/><Relationship Id="rId153" Type="http://schemas.openxmlformats.org/officeDocument/2006/relationships/slideLayout" Target="../slideLayouts/slideLayout1176.xml"/><Relationship Id="rId174" Type="http://schemas.openxmlformats.org/officeDocument/2006/relationships/slideLayout" Target="../slideLayouts/slideLayout1197.xml"/><Relationship Id="rId179" Type="http://schemas.openxmlformats.org/officeDocument/2006/relationships/slideLayout" Target="../slideLayouts/slideLayout1202.xml"/><Relationship Id="rId195" Type="http://schemas.openxmlformats.org/officeDocument/2006/relationships/slideLayout" Target="../slideLayouts/slideLayout1218.xml"/><Relationship Id="rId209" Type="http://schemas.openxmlformats.org/officeDocument/2006/relationships/slideLayout" Target="../slideLayouts/slideLayout1232.xml"/><Relationship Id="rId190" Type="http://schemas.openxmlformats.org/officeDocument/2006/relationships/slideLayout" Target="../slideLayouts/slideLayout1213.xml"/><Relationship Id="rId204" Type="http://schemas.openxmlformats.org/officeDocument/2006/relationships/slideLayout" Target="../slideLayouts/slideLayout1227.xml"/><Relationship Id="rId220" Type="http://schemas.openxmlformats.org/officeDocument/2006/relationships/slideLayout" Target="../slideLayouts/slideLayout1243.xml"/><Relationship Id="rId225" Type="http://schemas.openxmlformats.org/officeDocument/2006/relationships/slideLayout" Target="../slideLayouts/slideLayout1248.xml"/><Relationship Id="rId241" Type="http://schemas.openxmlformats.org/officeDocument/2006/relationships/slideLayout" Target="../slideLayouts/slideLayout1264.xml"/><Relationship Id="rId246" Type="http://schemas.openxmlformats.org/officeDocument/2006/relationships/slideLayout" Target="../slideLayouts/slideLayout1269.xml"/><Relationship Id="rId267" Type="http://schemas.openxmlformats.org/officeDocument/2006/relationships/slideLayout" Target="../slideLayouts/slideLayout1290.xml"/><Relationship Id="rId288" Type="http://schemas.openxmlformats.org/officeDocument/2006/relationships/slideLayout" Target="../slideLayouts/slideLayout1311.xml"/><Relationship Id="rId15" Type="http://schemas.openxmlformats.org/officeDocument/2006/relationships/slideLayout" Target="../slideLayouts/slideLayout1038.xml"/><Relationship Id="rId36" Type="http://schemas.openxmlformats.org/officeDocument/2006/relationships/slideLayout" Target="../slideLayouts/slideLayout1059.xml"/><Relationship Id="rId57" Type="http://schemas.openxmlformats.org/officeDocument/2006/relationships/slideLayout" Target="../slideLayouts/slideLayout1080.xml"/><Relationship Id="rId106" Type="http://schemas.openxmlformats.org/officeDocument/2006/relationships/slideLayout" Target="../slideLayouts/slideLayout1129.xml"/><Relationship Id="rId127" Type="http://schemas.openxmlformats.org/officeDocument/2006/relationships/slideLayout" Target="../slideLayouts/slideLayout1150.xml"/><Relationship Id="rId262" Type="http://schemas.openxmlformats.org/officeDocument/2006/relationships/slideLayout" Target="../slideLayouts/slideLayout1285.xml"/><Relationship Id="rId283" Type="http://schemas.openxmlformats.org/officeDocument/2006/relationships/slideLayout" Target="../slideLayouts/slideLayout1306.xml"/><Relationship Id="rId10" Type="http://schemas.openxmlformats.org/officeDocument/2006/relationships/slideLayout" Target="../slideLayouts/slideLayout1033.xml"/><Relationship Id="rId31" Type="http://schemas.openxmlformats.org/officeDocument/2006/relationships/slideLayout" Target="../slideLayouts/slideLayout1054.xml"/><Relationship Id="rId52" Type="http://schemas.openxmlformats.org/officeDocument/2006/relationships/slideLayout" Target="../slideLayouts/slideLayout1075.xml"/><Relationship Id="rId73" Type="http://schemas.openxmlformats.org/officeDocument/2006/relationships/slideLayout" Target="../slideLayouts/slideLayout1096.xml"/><Relationship Id="rId78" Type="http://schemas.openxmlformats.org/officeDocument/2006/relationships/slideLayout" Target="../slideLayouts/slideLayout1101.xml"/><Relationship Id="rId94" Type="http://schemas.openxmlformats.org/officeDocument/2006/relationships/slideLayout" Target="../slideLayouts/slideLayout1117.xml"/><Relationship Id="rId99" Type="http://schemas.openxmlformats.org/officeDocument/2006/relationships/slideLayout" Target="../slideLayouts/slideLayout1122.xml"/><Relationship Id="rId101" Type="http://schemas.openxmlformats.org/officeDocument/2006/relationships/slideLayout" Target="../slideLayouts/slideLayout1124.xml"/><Relationship Id="rId122" Type="http://schemas.openxmlformats.org/officeDocument/2006/relationships/slideLayout" Target="../slideLayouts/slideLayout1145.xml"/><Relationship Id="rId143" Type="http://schemas.openxmlformats.org/officeDocument/2006/relationships/slideLayout" Target="../slideLayouts/slideLayout1166.xml"/><Relationship Id="rId148" Type="http://schemas.openxmlformats.org/officeDocument/2006/relationships/slideLayout" Target="../slideLayouts/slideLayout1171.xml"/><Relationship Id="rId164" Type="http://schemas.openxmlformats.org/officeDocument/2006/relationships/slideLayout" Target="../slideLayouts/slideLayout1187.xml"/><Relationship Id="rId169" Type="http://schemas.openxmlformats.org/officeDocument/2006/relationships/slideLayout" Target="../slideLayouts/slideLayout1192.xml"/><Relationship Id="rId185" Type="http://schemas.openxmlformats.org/officeDocument/2006/relationships/slideLayout" Target="../slideLayouts/slideLayout1208.xml"/><Relationship Id="rId4" Type="http://schemas.openxmlformats.org/officeDocument/2006/relationships/slideLayout" Target="../slideLayouts/slideLayout1027.xml"/><Relationship Id="rId9" Type="http://schemas.openxmlformats.org/officeDocument/2006/relationships/slideLayout" Target="../slideLayouts/slideLayout1032.xml"/><Relationship Id="rId180" Type="http://schemas.openxmlformats.org/officeDocument/2006/relationships/slideLayout" Target="../slideLayouts/slideLayout1203.xml"/><Relationship Id="rId210" Type="http://schemas.openxmlformats.org/officeDocument/2006/relationships/slideLayout" Target="../slideLayouts/slideLayout1233.xml"/><Relationship Id="rId215" Type="http://schemas.openxmlformats.org/officeDocument/2006/relationships/slideLayout" Target="../slideLayouts/slideLayout1238.xml"/><Relationship Id="rId236" Type="http://schemas.openxmlformats.org/officeDocument/2006/relationships/slideLayout" Target="../slideLayouts/slideLayout1259.xml"/><Relationship Id="rId257" Type="http://schemas.openxmlformats.org/officeDocument/2006/relationships/slideLayout" Target="../slideLayouts/slideLayout1280.xml"/><Relationship Id="rId278" Type="http://schemas.openxmlformats.org/officeDocument/2006/relationships/slideLayout" Target="../slideLayouts/slideLayout1301.xml"/><Relationship Id="rId26" Type="http://schemas.openxmlformats.org/officeDocument/2006/relationships/slideLayout" Target="../slideLayouts/slideLayout1049.xml"/><Relationship Id="rId231" Type="http://schemas.openxmlformats.org/officeDocument/2006/relationships/slideLayout" Target="../slideLayouts/slideLayout1254.xml"/><Relationship Id="rId252" Type="http://schemas.openxmlformats.org/officeDocument/2006/relationships/slideLayout" Target="../slideLayouts/slideLayout1275.xml"/><Relationship Id="rId273" Type="http://schemas.openxmlformats.org/officeDocument/2006/relationships/slideLayout" Target="../slideLayouts/slideLayout1296.xml"/><Relationship Id="rId294" Type="http://schemas.openxmlformats.org/officeDocument/2006/relationships/slideLayout" Target="../slideLayouts/slideLayout1317.xml"/><Relationship Id="rId47" Type="http://schemas.openxmlformats.org/officeDocument/2006/relationships/slideLayout" Target="../slideLayouts/slideLayout1070.xml"/><Relationship Id="rId68" Type="http://schemas.openxmlformats.org/officeDocument/2006/relationships/slideLayout" Target="../slideLayouts/slideLayout1091.xml"/><Relationship Id="rId89" Type="http://schemas.openxmlformats.org/officeDocument/2006/relationships/slideLayout" Target="../slideLayouts/slideLayout1112.xml"/><Relationship Id="rId112" Type="http://schemas.openxmlformats.org/officeDocument/2006/relationships/slideLayout" Target="../slideLayouts/slideLayout1135.xml"/><Relationship Id="rId133" Type="http://schemas.openxmlformats.org/officeDocument/2006/relationships/slideLayout" Target="../slideLayouts/slideLayout1156.xml"/><Relationship Id="rId154" Type="http://schemas.openxmlformats.org/officeDocument/2006/relationships/slideLayout" Target="../slideLayouts/slideLayout1177.xml"/><Relationship Id="rId175" Type="http://schemas.openxmlformats.org/officeDocument/2006/relationships/slideLayout" Target="../slideLayouts/slideLayout1198.xml"/><Relationship Id="rId196" Type="http://schemas.openxmlformats.org/officeDocument/2006/relationships/slideLayout" Target="../slideLayouts/slideLayout1219.xml"/><Relationship Id="rId200" Type="http://schemas.openxmlformats.org/officeDocument/2006/relationships/slideLayout" Target="../slideLayouts/slideLayout1223.xml"/><Relationship Id="rId16" Type="http://schemas.openxmlformats.org/officeDocument/2006/relationships/slideLayout" Target="../slideLayouts/slideLayout1039.xml"/><Relationship Id="rId221" Type="http://schemas.openxmlformats.org/officeDocument/2006/relationships/slideLayout" Target="../slideLayouts/slideLayout1244.xml"/><Relationship Id="rId242" Type="http://schemas.openxmlformats.org/officeDocument/2006/relationships/slideLayout" Target="../slideLayouts/slideLayout1265.xml"/><Relationship Id="rId263" Type="http://schemas.openxmlformats.org/officeDocument/2006/relationships/slideLayout" Target="../slideLayouts/slideLayout1286.xml"/><Relationship Id="rId284" Type="http://schemas.openxmlformats.org/officeDocument/2006/relationships/slideLayout" Target="../slideLayouts/slideLayout1307.xml"/><Relationship Id="rId37" Type="http://schemas.openxmlformats.org/officeDocument/2006/relationships/slideLayout" Target="../slideLayouts/slideLayout1060.xml"/><Relationship Id="rId58" Type="http://schemas.openxmlformats.org/officeDocument/2006/relationships/slideLayout" Target="../slideLayouts/slideLayout1081.xml"/><Relationship Id="rId79" Type="http://schemas.openxmlformats.org/officeDocument/2006/relationships/slideLayout" Target="../slideLayouts/slideLayout1102.xml"/><Relationship Id="rId102" Type="http://schemas.openxmlformats.org/officeDocument/2006/relationships/slideLayout" Target="../slideLayouts/slideLayout1125.xml"/><Relationship Id="rId123" Type="http://schemas.openxmlformats.org/officeDocument/2006/relationships/slideLayout" Target="../slideLayouts/slideLayout1146.xml"/><Relationship Id="rId144" Type="http://schemas.openxmlformats.org/officeDocument/2006/relationships/slideLayout" Target="../slideLayouts/slideLayout1167.xml"/><Relationship Id="rId90" Type="http://schemas.openxmlformats.org/officeDocument/2006/relationships/slideLayout" Target="../slideLayouts/slideLayout1113.xml"/><Relationship Id="rId165" Type="http://schemas.openxmlformats.org/officeDocument/2006/relationships/slideLayout" Target="../slideLayouts/slideLayout1188.xml"/><Relationship Id="rId186" Type="http://schemas.openxmlformats.org/officeDocument/2006/relationships/slideLayout" Target="../slideLayouts/slideLayout1209.xml"/><Relationship Id="rId211" Type="http://schemas.openxmlformats.org/officeDocument/2006/relationships/slideLayout" Target="../slideLayouts/slideLayout1234.xml"/><Relationship Id="rId232" Type="http://schemas.openxmlformats.org/officeDocument/2006/relationships/slideLayout" Target="../slideLayouts/slideLayout1255.xml"/><Relationship Id="rId253" Type="http://schemas.openxmlformats.org/officeDocument/2006/relationships/slideLayout" Target="../slideLayouts/slideLayout1276.xml"/><Relationship Id="rId274" Type="http://schemas.openxmlformats.org/officeDocument/2006/relationships/slideLayout" Target="../slideLayouts/slideLayout1297.xml"/><Relationship Id="rId295" Type="http://schemas.openxmlformats.org/officeDocument/2006/relationships/slideLayout" Target="../slideLayouts/slideLayout1318.xml"/><Relationship Id="rId27" Type="http://schemas.openxmlformats.org/officeDocument/2006/relationships/slideLayout" Target="../slideLayouts/slideLayout1050.xml"/><Relationship Id="rId48" Type="http://schemas.openxmlformats.org/officeDocument/2006/relationships/slideLayout" Target="../slideLayouts/slideLayout1071.xml"/><Relationship Id="rId69" Type="http://schemas.openxmlformats.org/officeDocument/2006/relationships/slideLayout" Target="../slideLayouts/slideLayout1092.xml"/><Relationship Id="rId113" Type="http://schemas.openxmlformats.org/officeDocument/2006/relationships/slideLayout" Target="../slideLayouts/slideLayout1136.xml"/><Relationship Id="rId134" Type="http://schemas.openxmlformats.org/officeDocument/2006/relationships/slideLayout" Target="../slideLayouts/slideLayout1157.xml"/><Relationship Id="rId80" Type="http://schemas.openxmlformats.org/officeDocument/2006/relationships/slideLayout" Target="../slideLayouts/slideLayout1103.xml"/><Relationship Id="rId155" Type="http://schemas.openxmlformats.org/officeDocument/2006/relationships/slideLayout" Target="../slideLayouts/slideLayout1178.xml"/><Relationship Id="rId176" Type="http://schemas.openxmlformats.org/officeDocument/2006/relationships/slideLayout" Target="../slideLayouts/slideLayout1199.xml"/><Relationship Id="rId197" Type="http://schemas.openxmlformats.org/officeDocument/2006/relationships/slideLayout" Target="../slideLayouts/slideLayout1220.xml"/><Relationship Id="rId201" Type="http://schemas.openxmlformats.org/officeDocument/2006/relationships/slideLayout" Target="../slideLayouts/slideLayout1224.xml"/><Relationship Id="rId222" Type="http://schemas.openxmlformats.org/officeDocument/2006/relationships/slideLayout" Target="../slideLayouts/slideLayout1245.xml"/><Relationship Id="rId243" Type="http://schemas.openxmlformats.org/officeDocument/2006/relationships/slideLayout" Target="../slideLayouts/slideLayout1266.xml"/><Relationship Id="rId264" Type="http://schemas.openxmlformats.org/officeDocument/2006/relationships/slideLayout" Target="../slideLayouts/slideLayout1287.xml"/><Relationship Id="rId285" Type="http://schemas.openxmlformats.org/officeDocument/2006/relationships/slideLayout" Target="../slideLayouts/slideLayout1308.xml"/><Relationship Id="rId17" Type="http://schemas.openxmlformats.org/officeDocument/2006/relationships/slideLayout" Target="../slideLayouts/slideLayout1040.xml"/><Relationship Id="rId38" Type="http://schemas.openxmlformats.org/officeDocument/2006/relationships/slideLayout" Target="../slideLayouts/slideLayout1061.xml"/><Relationship Id="rId59" Type="http://schemas.openxmlformats.org/officeDocument/2006/relationships/slideLayout" Target="../slideLayouts/slideLayout1082.xml"/><Relationship Id="rId103" Type="http://schemas.openxmlformats.org/officeDocument/2006/relationships/slideLayout" Target="../slideLayouts/slideLayout1126.xml"/><Relationship Id="rId124" Type="http://schemas.openxmlformats.org/officeDocument/2006/relationships/slideLayout" Target="../slideLayouts/slideLayout1147.xml"/><Relationship Id="rId70" Type="http://schemas.openxmlformats.org/officeDocument/2006/relationships/slideLayout" Target="../slideLayouts/slideLayout1093.xml"/><Relationship Id="rId91" Type="http://schemas.openxmlformats.org/officeDocument/2006/relationships/slideLayout" Target="../slideLayouts/slideLayout1114.xml"/><Relationship Id="rId145" Type="http://schemas.openxmlformats.org/officeDocument/2006/relationships/slideLayout" Target="../slideLayouts/slideLayout1168.xml"/><Relationship Id="rId166" Type="http://schemas.openxmlformats.org/officeDocument/2006/relationships/slideLayout" Target="../slideLayouts/slideLayout1189.xml"/><Relationship Id="rId187" Type="http://schemas.openxmlformats.org/officeDocument/2006/relationships/slideLayout" Target="../slideLayouts/slideLayout1210.xml"/><Relationship Id="rId1" Type="http://schemas.openxmlformats.org/officeDocument/2006/relationships/slideLayout" Target="../slideLayouts/slideLayout1024.xml"/><Relationship Id="rId212" Type="http://schemas.openxmlformats.org/officeDocument/2006/relationships/slideLayout" Target="../slideLayouts/slideLayout1235.xml"/><Relationship Id="rId233" Type="http://schemas.openxmlformats.org/officeDocument/2006/relationships/slideLayout" Target="../slideLayouts/slideLayout1256.xml"/><Relationship Id="rId254" Type="http://schemas.openxmlformats.org/officeDocument/2006/relationships/slideLayout" Target="../slideLayouts/slideLayout1277.xml"/><Relationship Id="rId28" Type="http://schemas.openxmlformats.org/officeDocument/2006/relationships/slideLayout" Target="../slideLayouts/slideLayout1051.xml"/><Relationship Id="rId49" Type="http://schemas.openxmlformats.org/officeDocument/2006/relationships/slideLayout" Target="../slideLayouts/slideLayout1072.xml"/><Relationship Id="rId114" Type="http://schemas.openxmlformats.org/officeDocument/2006/relationships/slideLayout" Target="../slideLayouts/slideLayout1137.xml"/><Relationship Id="rId275" Type="http://schemas.openxmlformats.org/officeDocument/2006/relationships/slideLayout" Target="../slideLayouts/slideLayout1298.xml"/><Relationship Id="rId296" Type="http://schemas.openxmlformats.org/officeDocument/2006/relationships/slideLayout" Target="../slideLayouts/slideLayout1319.xml"/><Relationship Id="rId300" Type="http://schemas.openxmlformats.org/officeDocument/2006/relationships/theme" Target="../theme/theme2.xml"/><Relationship Id="rId60" Type="http://schemas.openxmlformats.org/officeDocument/2006/relationships/slideLayout" Target="../slideLayouts/slideLayout1083.xml"/><Relationship Id="rId81" Type="http://schemas.openxmlformats.org/officeDocument/2006/relationships/slideLayout" Target="../slideLayouts/slideLayout1104.xml"/><Relationship Id="rId135" Type="http://schemas.openxmlformats.org/officeDocument/2006/relationships/slideLayout" Target="../slideLayouts/slideLayout1158.xml"/><Relationship Id="rId156" Type="http://schemas.openxmlformats.org/officeDocument/2006/relationships/slideLayout" Target="../slideLayouts/slideLayout1179.xml"/><Relationship Id="rId177" Type="http://schemas.openxmlformats.org/officeDocument/2006/relationships/slideLayout" Target="../slideLayouts/slideLayout1200.xml"/><Relationship Id="rId198" Type="http://schemas.openxmlformats.org/officeDocument/2006/relationships/slideLayout" Target="../slideLayouts/slideLayout1221.xml"/><Relationship Id="rId202" Type="http://schemas.openxmlformats.org/officeDocument/2006/relationships/slideLayout" Target="../slideLayouts/slideLayout1225.xml"/><Relationship Id="rId223" Type="http://schemas.openxmlformats.org/officeDocument/2006/relationships/slideLayout" Target="../slideLayouts/slideLayout1246.xml"/><Relationship Id="rId244" Type="http://schemas.openxmlformats.org/officeDocument/2006/relationships/slideLayout" Target="../slideLayouts/slideLayout1267.xml"/><Relationship Id="rId18" Type="http://schemas.openxmlformats.org/officeDocument/2006/relationships/slideLayout" Target="../slideLayouts/slideLayout1041.xml"/><Relationship Id="rId39" Type="http://schemas.openxmlformats.org/officeDocument/2006/relationships/slideLayout" Target="../slideLayouts/slideLayout1062.xml"/><Relationship Id="rId265" Type="http://schemas.openxmlformats.org/officeDocument/2006/relationships/slideLayout" Target="../slideLayouts/slideLayout1288.xml"/><Relationship Id="rId286" Type="http://schemas.openxmlformats.org/officeDocument/2006/relationships/slideLayout" Target="../slideLayouts/slideLayout1309.xml"/><Relationship Id="rId50" Type="http://schemas.openxmlformats.org/officeDocument/2006/relationships/slideLayout" Target="../slideLayouts/slideLayout1073.xml"/><Relationship Id="rId104" Type="http://schemas.openxmlformats.org/officeDocument/2006/relationships/slideLayout" Target="../slideLayouts/slideLayout1127.xml"/><Relationship Id="rId125" Type="http://schemas.openxmlformats.org/officeDocument/2006/relationships/slideLayout" Target="../slideLayouts/slideLayout1148.xml"/><Relationship Id="rId146" Type="http://schemas.openxmlformats.org/officeDocument/2006/relationships/slideLayout" Target="../slideLayouts/slideLayout1169.xml"/><Relationship Id="rId167" Type="http://schemas.openxmlformats.org/officeDocument/2006/relationships/slideLayout" Target="../slideLayouts/slideLayout1190.xml"/><Relationship Id="rId188" Type="http://schemas.openxmlformats.org/officeDocument/2006/relationships/slideLayout" Target="../slideLayouts/slideLayout1211.xml"/><Relationship Id="rId71" Type="http://schemas.openxmlformats.org/officeDocument/2006/relationships/slideLayout" Target="../slideLayouts/slideLayout1094.xml"/><Relationship Id="rId92" Type="http://schemas.openxmlformats.org/officeDocument/2006/relationships/slideLayout" Target="../slideLayouts/slideLayout1115.xml"/><Relationship Id="rId213" Type="http://schemas.openxmlformats.org/officeDocument/2006/relationships/slideLayout" Target="../slideLayouts/slideLayout1236.xml"/><Relationship Id="rId234" Type="http://schemas.openxmlformats.org/officeDocument/2006/relationships/slideLayout" Target="../slideLayouts/slideLayout12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26"/>
            </p:custDataLst>
            <p:extLst>
              <p:ext uri="{D42A27DB-BD31-4B8C-83A1-F6EECF244321}">
                <p14:modId xmlns:p14="http://schemas.microsoft.com/office/powerpoint/2010/main" val="259561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5" name="think-cell Slide" r:id="rId1027" imgW="270" imgH="270" progId="TCLayout.ActiveDocument.1">
                  <p:embed/>
                </p:oleObj>
              </mc:Choice>
              <mc:Fallback>
                <p:oleObj name="think-cell Slide" r:id="rId10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2"/>
          <p:cNvSpPr>
            <a:spLocks noChangeArrowheads="1"/>
          </p:cNvSpPr>
          <p:nvPr userDrawn="1"/>
        </p:nvSpPr>
        <p:spPr bwMode="auto">
          <a:xfrm>
            <a:off x="8804030" y="6611779"/>
            <a:ext cx="339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5720" rIns="90488" bIns="45720" anchor="ctr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</a:pPr>
            <a:fld id="{090EB062-F74A-48E3-949C-AE146B96ACCE}" type="slidenum">
              <a:rPr lang="en-US" sz="10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457200" eaLnBrk="0" fontAlgn="auto" hangingPunct="0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00" dirty="0">
              <a:solidFill>
                <a:srgbClr val="AAAA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035279" y="6611779"/>
            <a:ext cx="770687" cy="2462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FSG 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473788" y="6611779"/>
            <a:ext cx="450476" cy="2462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</a:p>
        </p:txBody>
      </p:sp>
    </p:spTree>
    <p:extLst>
      <p:ext uri="{BB962C8B-B14F-4D97-AF65-F5344CB8AC3E}">
        <p14:creationId xmlns:p14="http://schemas.microsoft.com/office/powerpoint/2010/main" val="1738148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6494" r:id="rId10"/>
    <p:sldLayoutId id="2147486495" r:id="rId11"/>
    <p:sldLayoutId id="2147483906" r:id="rId12"/>
    <p:sldLayoutId id="2147483907" r:id="rId13"/>
    <p:sldLayoutId id="2147483908" r:id="rId14"/>
    <p:sldLayoutId id="2147483909" r:id="rId15"/>
    <p:sldLayoutId id="2147483910" r:id="rId16"/>
    <p:sldLayoutId id="2147483911" r:id="rId17"/>
    <p:sldLayoutId id="2147483912" r:id="rId18"/>
    <p:sldLayoutId id="2147483913" r:id="rId19"/>
    <p:sldLayoutId id="2147483896" r:id="rId20"/>
    <p:sldLayoutId id="2147483897" r:id="rId21"/>
    <p:sldLayoutId id="2147483898" r:id="rId22"/>
    <p:sldLayoutId id="2147483899" r:id="rId23"/>
    <p:sldLayoutId id="2147483900" r:id="rId24"/>
    <p:sldLayoutId id="2147483901" r:id="rId25"/>
    <p:sldLayoutId id="2147483902" r:id="rId26"/>
    <p:sldLayoutId id="2147483903" r:id="rId27"/>
    <p:sldLayoutId id="2147485530" r:id="rId28"/>
    <p:sldLayoutId id="2147485531" r:id="rId29"/>
    <p:sldLayoutId id="2147485532" r:id="rId30"/>
    <p:sldLayoutId id="2147485534" r:id="rId31"/>
    <p:sldLayoutId id="2147485535" r:id="rId32"/>
    <p:sldLayoutId id="2147485536" r:id="rId33"/>
    <p:sldLayoutId id="2147485537" r:id="rId34"/>
    <p:sldLayoutId id="2147485313" r:id="rId35"/>
    <p:sldLayoutId id="2147485314" r:id="rId36"/>
    <p:sldLayoutId id="2147485315" r:id="rId37"/>
    <p:sldLayoutId id="2147485316" r:id="rId38"/>
    <p:sldLayoutId id="2147485317" r:id="rId39"/>
    <p:sldLayoutId id="2147485318" r:id="rId40"/>
    <p:sldLayoutId id="2147485319" r:id="rId41"/>
    <p:sldLayoutId id="2147485320" r:id="rId42"/>
    <p:sldLayoutId id="2147485322" r:id="rId43"/>
    <p:sldLayoutId id="2147485323" r:id="rId44"/>
    <p:sldLayoutId id="2147485324" r:id="rId45"/>
    <p:sldLayoutId id="2147485325" r:id="rId46"/>
    <p:sldLayoutId id="2147485326" r:id="rId47"/>
    <p:sldLayoutId id="2147485328" r:id="rId48"/>
    <p:sldLayoutId id="2147485329" r:id="rId49"/>
    <p:sldLayoutId id="2147485295" r:id="rId50"/>
    <p:sldLayoutId id="2147485296" r:id="rId51"/>
    <p:sldLayoutId id="2147485297" r:id="rId52"/>
    <p:sldLayoutId id="2147485298" r:id="rId53"/>
    <p:sldLayoutId id="2147485299" r:id="rId54"/>
    <p:sldLayoutId id="2147485300" r:id="rId55"/>
    <p:sldLayoutId id="2147485301" r:id="rId56"/>
    <p:sldLayoutId id="2147485302" r:id="rId57"/>
    <p:sldLayoutId id="2147485304" r:id="rId58"/>
    <p:sldLayoutId id="2147485305" r:id="rId59"/>
    <p:sldLayoutId id="2147485306" r:id="rId60"/>
    <p:sldLayoutId id="2147485307" r:id="rId61"/>
    <p:sldLayoutId id="2147485308" r:id="rId62"/>
    <p:sldLayoutId id="2147485309" r:id="rId63"/>
    <p:sldLayoutId id="2147485310" r:id="rId64"/>
    <p:sldLayoutId id="2147485311" r:id="rId65"/>
    <p:sldLayoutId id="2147485277" r:id="rId66"/>
    <p:sldLayoutId id="2147485278" r:id="rId67"/>
    <p:sldLayoutId id="2147485279" r:id="rId68"/>
    <p:sldLayoutId id="2147485280" r:id="rId69"/>
    <p:sldLayoutId id="2147485281" r:id="rId70"/>
    <p:sldLayoutId id="2147485282" r:id="rId71"/>
    <p:sldLayoutId id="2147485283" r:id="rId72"/>
    <p:sldLayoutId id="2147485284" r:id="rId73"/>
    <p:sldLayoutId id="2147485286" r:id="rId74"/>
    <p:sldLayoutId id="2147485287" r:id="rId75"/>
    <p:sldLayoutId id="2147485288" r:id="rId76"/>
    <p:sldLayoutId id="2147485289" r:id="rId77"/>
    <p:sldLayoutId id="2147485290" r:id="rId78"/>
    <p:sldLayoutId id="2147485291" r:id="rId79"/>
    <p:sldLayoutId id="2147485292" r:id="rId80"/>
    <p:sldLayoutId id="2147485293" r:id="rId81"/>
    <p:sldLayoutId id="2147485259" r:id="rId82"/>
    <p:sldLayoutId id="2147485260" r:id="rId83"/>
    <p:sldLayoutId id="2147485261" r:id="rId84"/>
    <p:sldLayoutId id="2147485262" r:id="rId85"/>
    <p:sldLayoutId id="2147485263" r:id="rId86"/>
    <p:sldLayoutId id="2147485264" r:id="rId87"/>
    <p:sldLayoutId id="2147485265" r:id="rId88"/>
    <p:sldLayoutId id="2147485266" r:id="rId89"/>
    <p:sldLayoutId id="2147485268" r:id="rId90"/>
    <p:sldLayoutId id="2147485269" r:id="rId91"/>
    <p:sldLayoutId id="2147485270" r:id="rId92"/>
    <p:sldLayoutId id="2147485271" r:id="rId93"/>
    <p:sldLayoutId id="2147485272" r:id="rId94"/>
    <p:sldLayoutId id="2147485273" r:id="rId95"/>
    <p:sldLayoutId id="2147485274" r:id="rId96"/>
    <p:sldLayoutId id="2147485275" r:id="rId97"/>
    <p:sldLayoutId id="2147485241" r:id="rId98"/>
    <p:sldLayoutId id="2147485242" r:id="rId99"/>
    <p:sldLayoutId id="2147485243" r:id="rId100"/>
    <p:sldLayoutId id="2147485244" r:id="rId101"/>
    <p:sldLayoutId id="2147485245" r:id="rId102"/>
    <p:sldLayoutId id="2147485246" r:id="rId103"/>
    <p:sldLayoutId id="2147485247" r:id="rId104"/>
    <p:sldLayoutId id="2147485248" r:id="rId105"/>
    <p:sldLayoutId id="2147485250" r:id="rId106"/>
    <p:sldLayoutId id="2147485251" r:id="rId107"/>
    <p:sldLayoutId id="2147485252" r:id="rId108"/>
    <p:sldLayoutId id="2147485253" r:id="rId109"/>
    <p:sldLayoutId id="2147485254" r:id="rId110"/>
    <p:sldLayoutId id="2147485255" r:id="rId111"/>
    <p:sldLayoutId id="2147485256" r:id="rId112"/>
    <p:sldLayoutId id="2147485257" r:id="rId113"/>
    <p:sldLayoutId id="2147485223" r:id="rId114"/>
    <p:sldLayoutId id="2147485224" r:id="rId115"/>
    <p:sldLayoutId id="2147485225" r:id="rId116"/>
    <p:sldLayoutId id="2147485226" r:id="rId117"/>
    <p:sldLayoutId id="2147485227" r:id="rId118"/>
    <p:sldLayoutId id="2147485228" r:id="rId119"/>
    <p:sldLayoutId id="2147485229" r:id="rId120"/>
    <p:sldLayoutId id="2147485230" r:id="rId121"/>
    <p:sldLayoutId id="2147485232" r:id="rId122"/>
    <p:sldLayoutId id="2147485233" r:id="rId123"/>
    <p:sldLayoutId id="2147485234" r:id="rId124"/>
    <p:sldLayoutId id="2147485235" r:id="rId125"/>
    <p:sldLayoutId id="2147485236" r:id="rId126"/>
    <p:sldLayoutId id="2147485237" r:id="rId127"/>
    <p:sldLayoutId id="2147485238" r:id="rId128"/>
    <p:sldLayoutId id="2147485239" r:id="rId129"/>
    <p:sldLayoutId id="2147486479" r:id="rId130"/>
    <p:sldLayoutId id="2147486480" r:id="rId131"/>
    <p:sldLayoutId id="2147486481" r:id="rId132"/>
    <p:sldLayoutId id="2147486482" r:id="rId133"/>
    <p:sldLayoutId id="2147486483" r:id="rId134"/>
    <p:sldLayoutId id="2147486484" r:id="rId135"/>
    <p:sldLayoutId id="2147486485" r:id="rId136"/>
    <p:sldLayoutId id="2147486486" r:id="rId137"/>
    <p:sldLayoutId id="2147486470" r:id="rId138"/>
    <p:sldLayoutId id="2147486471" r:id="rId139"/>
    <p:sldLayoutId id="2147486472" r:id="rId140"/>
    <p:sldLayoutId id="2147486473" r:id="rId141"/>
    <p:sldLayoutId id="2147486474" r:id="rId142"/>
    <p:sldLayoutId id="2147486475" r:id="rId143"/>
    <p:sldLayoutId id="2147486476" r:id="rId144"/>
    <p:sldLayoutId id="2147486477" r:id="rId145"/>
    <p:sldLayoutId id="2147486461" r:id="rId146"/>
    <p:sldLayoutId id="2147486462" r:id="rId147"/>
    <p:sldLayoutId id="2147486463" r:id="rId148"/>
    <p:sldLayoutId id="2147486464" r:id="rId149"/>
    <p:sldLayoutId id="2147486465" r:id="rId150"/>
    <p:sldLayoutId id="2147486466" r:id="rId151"/>
    <p:sldLayoutId id="2147486467" r:id="rId152"/>
    <p:sldLayoutId id="2147486468" r:id="rId153"/>
    <p:sldLayoutId id="2147486450" r:id="rId154"/>
    <p:sldLayoutId id="2147486451" r:id="rId155"/>
    <p:sldLayoutId id="2147486452" r:id="rId156"/>
    <p:sldLayoutId id="2147486453" r:id="rId157"/>
    <p:sldLayoutId id="2147486454" r:id="rId158"/>
    <p:sldLayoutId id="2147486455" r:id="rId159"/>
    <p:sldLayoutId id="2147486456" r:id="rId160"/>
    <p:sldLayoutId id="2147486457" r:id="rId161"/>
    <p:sldLayoutId id="2147486458" r:id="rId162"/>
    <p:sldLayoutId id="2147486441" r:id="rId163"/>
    <p:sldLayoutId id="2147486442" r:id="rId164"/>
    <p:sldLayoutId id="2147486443" r:id="rId165"/>
    <p:sldLayoutId id="2147486444" r:id="rId166"/>
    <p:sldLayoutId id="2147486445" r:id="rId167"/>
    <p:sldLayoutId id="2147486446" r:id="rId168"/>
    <p:sldLayoutId id="2147486447" r:id="rId169"/>
    <p:sldLayoutId id="2147486448" r:id="rId170"/>
    <p:sldLayoutId id="2147486415" r:id="rId171"/>
    <p:sldLayoutId id="2147486416" r:id="rId172"/>
    <p:sldLayoutId id="2147486417" r:id="rId173"/>
    <p:sldLayoutId id="2147486418" r:id="rId174"/>
    <p:sldLayoutId id="2147486419" r:id="rId175"/>
    <p:sldLayoutId id="2147486420" r:id="rId176"/>
    <p:sldLayoutId id="2147486421" r:id="rId177"/>
    <p:sldLayoutId id="2147486422" r:id="rId178"/>
    <p:sldLayoutId id="2147486405" r:id="rId179"/>
    <p:sldLayoutId id="2147486406" r:id="rId180"/>
    <p:sldLayoutId id="2147486407" r:id="rId181"/>
    <p:sldLayoutId id="2147486408" r:id="rId182"/>
    <p:sldLayoutId id="2147486409" r:id="rId183"/>
    <p:sldLayoutId id="2147486410" r:id="rId184"/>
    <p:sldLayoutId id="2147486411" r:id="rId185"/>
    <p:sldLayoutId id="2147486412" r:id="rId186"/>
    <p:sldLayoutId id="2147486396" r:id="rId187"/>
    <p:sldLayoutId id="2147486397" r:id="rId188"/>
    <p:sldLayoutId id="2147486398" r:id="rId189"/>
    <p:sldLayoutId id="2147486400" r:id="rId190"/>
    <p:sldLayoutId id="2147486401" r:id="rId191"/>
    <p:sldLayoutId id="2147486402" r:id="rId192"/>
    <p:sldLayoutId id="2147486403" r:id="rId193"/>
    <p:sldLayoutId id="2147486386" r:id="rId194"/>
    <p:sldLayoutId id="2147486387" r:id="rId195"/>
    <p:sldLayoutId id="2147486388" r:id="rId196"/>
    <p:sldLayoutId id="2147486389" r:id="rId197"/>
    <p:sldLayoutId id="2147486390" r:id="rId198"/>
    <p:sldLayoutId id="2147486391" r:id="rId199"/>
    <p:sldLayoutId id="2147486392" r:id="rId200"/>
    <p:sldLayoutId id="2147486393" r:id="rId201"/>
    <p:sldLayoutId id="2147486352" r:id="rId202"/>
    <p:sldLayoutId id="2147486353" r:id="rId203"/>
    <p:sldLayoutId id="2147486354" r:id="rId204"/>
    <p:sldLayoutId id="2147486355" r:id="rId205"/>
    <p:sldLayoutId id="2147486356" r:id="rId206"/>
    <p:sldLayoutId id="2147486357" r:id="rId207"/>
    <p:sldLayoutId id="2147486358" r:id="rId208"/>
    <p:sldLayoutId id="2147486359" r:id="rId209"/>
    <p:sldLayoutId id="2147486314" r:id="rId210"/>
    <p:sldLayoutId id="2147486315" r:id="rId211"/>
    <p:sldLayoutId id="2147486316" r:id="rId212"/>
    <p:sldLayoutId id="2147486317" r:id="rId213"/>
    <p:sldLayoutId id="2147486318" r:id="rId214"/>
    <p:sldLayoutId id="2147486319" r:id="rId215"/>
    <p:sldLayoutId id="2147486320" r:id="rId216"/>
    <p:sldLayoutId id="2147486321" r:id="rId217"/>
    <p:sldLayoutId id="2147486304" r:id="rId218"/>
    <p:sldLayoutId id="2147486305" r:id="rId219"/>
    <p:sldLayoutId id="2147486306" r:id="rId220"/>
    <p:sldLayoutId id="2147486307" r:id="rId221"/>
    <p:sldLayoutId id="2147486308" r:id="rId222"/>
    <p:sldLayoutId id="2147486309" r:id="rId223"/>
    <p:sldLayoutId id="2147486310" r:id="rId224"/>
    <p:sldLayoutId id="2147486311" r:id="rId225"/>
    <p:sldLayoutId id="2147486242" r:id="rId226"/>
    <p:sldLayoutId id="2147486243" r:id="rId227"/>
    <p:sldLayoutId id="2147486244" r:id="rId228"/>
    <p:sldLayoutId id="2147486245" r:id="rId229"/>
    <p:sldLayoutId id="2147486246" r:id="rId230"/>
    <p:sldLayoutId id="2147486247" r:id="rId231"/>
    <p:sldLayoutId id="2147486248" r:id="rId232"/>
    <p:sldLayoutId id="2147486249" r:id="rId233"/>
    <p:sldLayoutId id="2147486199" r:id="rId234"/>
    <p:sldLayoutId id="2147486200" r:id="rId235"/>
    <p:sldLayoutId id="2147486201" r:id="rId236"/>
    <p:sldLayoutId id="2147486202" r:id="rId237"/>
    <p:sldLayoutId id="2147486203" r:id="rId238"/>
    <p:sldLayoutId id="2147486204" r:id="rId239"/>
    <p:sldLayoutId id="2147486205" r:id="rId240"/>
    <p:sldLayoutId id="2147486206" r:id="rId241"/>
    <p:sldLayoutId id="2147486189" r:id="rId242"/>
    <p:sldLayoutId id="2147486190" r:id="rId243"/>
    <p:sldLayoutId id="2147486191" r:id="rId244"/>
    <p:sldLayoutId id="2147486192" r:id="rId245"/>
    <p:sldLayoutId id="2147486193" r:id="rId246"/>
    <p:sldLayoutId id="2147486194" r:id="rId247"/>
    <p:sldLayoutId id="2147486195" r:id="rId248"/>
    <p:sldLayoutId id="2147486196" r:id="rId249"/>
    <p:sldLayoutId id="2147486179" r:id="rId250"/>
    <p:sldLayoutId id="2147486180" r:id="rId251"/>
    <p:sldLayoutId id="2147486181" r:id="rId252"/>
    <p:sldLayoutId id="2147486182" r:id="rId253"/>
    <p:sldLayoutId id="2147486183" r:id="rId254"/>
    <p:sldLayoutId id="2147486184" r:id="rId255"/>
    <p:sldLayoutId id="2147486185" r:id="rId256"/>
    <p:sldLayoutId id="2147486186" r:id="rId257"/>
    <p:sldLayoutId id="2147486170" r:id="rId258"/>
    <p:sldLayoutId id="2147486171" r:id="rId259"/>
    <p:sldLayoutId id="2147486172" r:id="rId260"/>
    <p:sldLayoutId id="2147486173" r:id="rId261"/>
    <p:sldLayoutId id="2147486174" r:id="rId262"/>
    <p:sldLayoutId id="2147486175" r:id="rId263"/>
    <p:sldLayoutId id="2147486176" r:id="rId264"/>
    <p:sldLayoutId id="2147486177" r:id="rId265"/>
    <p:sldLayoutId id="2147486160" r:id="rId266"/>
    <p:sldLayoutId id="2147486161" r:id="rId267"/>
    <p:sldLayoutId id="2147486162" r:id="rId268"/>
    <p:sldLayoutId id="2147486163" r:id="rId269"/>
    <p:sldLayoutId id="2147486164" r:id="rId270"/>
    <p:sldLayoutId id="2147486165" r:id="rId271"/>
    <p:sldLayoutId id="2147486166" r:id="rId272"/>
    <p:sldLayoutId id="2147486167" r:id="rId273"/>
    <p:sldLayoutId id="2147486151" r:id="rId274"/>
    <p:sldLayoutId id="2147486152" r:id="rId275"/>
    <p:sldLayoutId id="2147486153" r:id="rId276"/>
    <p:sldLayoutId id="2147486154" r:id="rId277"/>
    <p:sldLayoutId id="2147486155" r:id="rId278"/>
    <p:sldLayoutId id="2147486156" r:id="rId279"/>
    <p:sldLayoutId id="2147486157" r:id="rId280"/>
    <p:sldLayoutId id="2147486158" r:id="rId281"/>
    <p:sldLayoutId id="2147486142" r:id="rId282"/>
    <p:sldLayoutId id="2147486143" r:id="rId283"/>
    <p:sldLayoutId id="2147486144" r:id="rId284"/>
    <p:sldLayoutId id="2147486145" r:id="rId285"/>
    <p:sldLayoutId id="2147486146" r:id="rId286"/>
    <p:sldLayoutId id="2147486147" r:id="rId287"/>
    <p:sldLayoutId id="2147486148" r:id="rId288"/>
    <p:sldLayoutId id="2147486149" r:id="rId289"/>
    <p:sldLayoutId id="2147486132" r:id="rId290"/>
    <p:sldLayoutId id="2147486133" r:id="rId291"/>
    <p:sldLayoutId id="2147486134" r:id="rId292"/>
    <p:sldLayoutId id="2147486135" r:id="rId293"/>
    <p:sldLayoutId id="2147486136" r:id="rId294"/>
    <p:sldLayoutId id="2147486137" r:id="rId295"/>
    <p:sldLayoutId id="2147486138" r:id="rId296"/>
    <p:sldLayoutId id="2147486139" r:id="rId297"/>
    <p:sldLayoutId id="2147486123" r:id="rId298"/>
    <p:sldLayoutId id="2147486124" r:id="rId299"/>
    <p:sldLayoutId id="2147486125" r:id="rId300"/>
    <p:sldLayoutId id="2147486126" r:id="rId301"/>
    <p:sldLayoutId id="2147486127" r:id="rId302"/>
    <p:sldLayoutId id="2147486128" r:id="rId303"/>
    <p:sldLayoutId id="2147486129" r:id="rId304"/>
    <p:sldLayoutId id="2147486130" r:id="rId305"/>
    <p:sldLayoutId id="2147486096" r:id="rId306"/>
    <p:sldLayoutId id="2147486097" r:id="rId307"/>
    <p:sldLayoutId id="2147486098" r:id="rId308"/>
    <p:sldLayoutId id="2147486099" r:id="rId309"/>
    <p:sldLayoutId id="2147486100" r:id="rId310"/>
    <p:sldLayoutId id="2147486101" r:id="rId311"/>
    <p:sldLayoutId id="2147486102" r:id="rId312"/>
    <p:sldLayoutId id="2147486103" r:id="rId313"/>
    <p:sldLayoutId id="2147486068" r:id="rId314"/>
    <p:sldLayoutId id="2147486069" r:id="rId315"/>
    <p:sldLayoutId id="2147486070" r:id="rId316"/>
    <p:sldLayoutId id="2147486071" r:id="rId317"/>
    <p:sldLayoutId id="2147486072" r:id="rId318"/>
    <p:sldLayoutId id="2147486073" r:id="rId319"/>
    <p:sldLayoutId id="2147486074" r:id="rId320"/>
    <p:sldLayoutId id="2147486075" r:id="rId321"/>
    <p:sldLayoutId id="2147486058" r:id="rId322"/>
    <p:sldLayoutId id="2147486059" r:id="rId323"/>
    <p:sldLayoutId id="2147486060" r:id="rId324"/>
    <p:sldLayoutId id="2147486061" r:id="rId325"/>
    <p:sldLayoutId id="2147486062" r:id="rId326"/>
    <p:sldLayoutId id="2147486063" r:id="rId327"/>
    <p:sldLayoutId id="2147486064" r:id="rId328"/>
    <p:sldLayoutId id="2147486065" r:id="rId329"/>
    <p:sldLayoutId id="2147486049" r:id="rId330"/>
    <p:sldLayoutId id="2147486050" r:id="rId331"/>
    <p:sldLayoutId id="2147486051" r:id="rId332"/>
    <p:sldLayoutId id="2147486052" r:id="rId333"/>
    <p:sldLayoutId id="2147486053" r:id="rId334"/>
    <p:sldLayoutId id="2147486054" r:id="rId335"/>
    <p:sldLayoutId id="2147486055" r:id="rId336"/>
    <p:sldLayoutId id="2147486056" r:id="rId337"/>
    <p:sldLayoutId id="2147486039" r:id="rId338"/>
    <p:sldLayoutId id="2147486040" r:id="rId339"/>
    <p:sldLayoutId id="2147486041" r:id="rId340"/>
    <p:sldLayoutId id="2147486042" r:id="rId341"/>
    <p:sldLayoutId id="2147486043" r:id="rId342"/>
    <p:sldLayoutId id="2147486044" r:id="rId343"/>
    <p:sldLayoutId id="2147486045" r:id="rId344"/>
    <p:sldLayoutId id="2147486046" r:id="rId345"/>
    <p:sldLayoutId id="2147486029" r:id="rId346"/>
    <p:sldLayoutId id="2147486030" r:id="rId347"/>
    <p:sldLayoutId id="2147486031" r:id="rId348"/>
    <p:sldLayoutId id="2147486032" r:id="rId349"/>
    <p:sldLayoutId id="2147486033" r:id="rId350"/>
    <p:sldLayoutId id="2147486034" r:id="rId351"/>
    <p:sldLayoutId id="2147486035" r:id="rId352"/>
    <p:sldLayoutId id="2147486036" r:id="rId353"/>
    <p:sldLayoutId id="2147486020" r:id="rId354"/>
    <p:sldLayoutId id="2147486021" r:id="rId355"/>
    <p:sldLayoutId id="2147486022" r:id="rId356"/>
    <p:sldLayoutId id="2147486023" r:id="rId357"/>
    <p:sldLayoutId id="2147486024" r:id="rId358"/>
    <p:sldLayoutId id="2147486025" r:id="rId359"/>
    <p:sldLayoutId id="2147486026" r:id="rId360"/>
    <p:sldLayoutId id="2147486027" r:id="rId361"/>
    <p:sldLayoutId id="2147486010" r:id="rId362"/>
    <p:sldLayoutId id="2147486011" r:id="rId363"/>
    <p:sldLayoutId id="2147486012" r:id="rId364"/>
    <p:sldLayoutId id="2147486013" r:id="rId365"/>
    <p:sldLayoutId id="2147486014" r:id="rId366"/>
    <p:sldLayoutId id="2147486015" r:id="rId367"/>
    <p:sldLayoutId id="2147486016" r:id="rId368"/>
    <p:sldLayoutId id="2147486017" r:id="rId369"/>
    <p:sldLayoutId id="2147485965" r:id="rId370"/>
    <p:sldLayoutId id="2147485966" r:id="rId371"/>
    <p:sldLayoutId id="2147485967" r:id="rId372"/>
    <p:sldLayoutId id="2147485968" r:id="rId373"/>
    <p:sldLayoutId id="2147485969" r:id="rId374"/>
    <p:sldLayoutId id="2147485970" r:id="rId375"/>
    <p:sldLayoutId id="2147485971" r:id="rId376"/>
    <p:sldLayoutId id="2147485972" r:id="rId377"/>
    <p:sldLayoutId id="2147485956" r:id="rId378"/>
    <p:sldLayoutId id="2147485957" r:id="rId379"/>
    <p:sldLayoutId id="2147485958" r:id="rId380"/>
    <p:sldLayoutId id="2147485959" r:id="rId381"/>
    <p:sldLayoutId id="2147485960" r:id="rId382"/>
    <p:sldLayoutId id="2147485961" r:id="rId383"/>
    <p:sldLayoutId id="2147485962" r:id="rId384"/>
    <p:sldLayoutId id="2147485963" r:id="rId385"/>
    <p:sldLayoutId id="2147485936" r:id="rId386"/>
    <p:sldLayoutId id="2147485937" r:id="rId387"/>
    <p:sldLayoutId id="2147485938" r:id="rId388"/>
    <p:sldLayoutId id="2147485939" r:id="rId389"/>
    <p:sldLayoutId id="2147485940" r:id="rId390"/>
    <p:sldLayoutId id="2147485941" r:id="rId391"/>
    <p:sldLayoutId id="2147485942" r:id="rId392"/>
    <p:sldLayoutId id="2147485943" r:id="rId393"/>
    <p:sldLayoutId id="2147485927" r:id="rId394"/>
    <p:sldLayoutId id="2147485928" r:id="rId395"/>
    <p:sldLayoutId id="2147485929" r:id="rId396"/>
    <p:sldLayoutId id="2147485930" r:id="rId397"/>
    <p:sldLayoutId id="2147485931" r:id="rId398"/>
    <p:sldLayoutId id="2147485932" r:id="rId399"/>
    <p:sldLayoutId id="2147485933" r:id="rId400"/>
    <p:sldLayoutId id="2147485934" r:id="rId401"/>
    <p:sldLayoutId id="2147485918" r:id="rId402"/>
    <p:sldLayoutId id="2147485919" r:id="rId403"/>
    <p:sldLayoutId id="2147485920" r:id="rId404"/>
    <p:sldLayoutId id="2147485921" r:id="rId405"/>
    <p:sldLayoutId id="2147485922" r:id="rId406"/>
    <p:sldLayoutId id="2147485923" r:id="rId407"/>
    <p:sldLayoutId id="2147485924" r:id="rId408"/>
    <p:sldLayoutId id="2147485925" r:id="rId409"/>
    <p:sldLayoutId id="2147485890" r:id="rId410"/>
    <p:sldLayoutId id="2147485891" r:id="rId411"/>
    <p:sldLayoutId id="2147485892" r:id="rId412"/>
    <p:sldLayoutId id="2147485893" r:id="rId413"/>
    <p:sldLayoutId id="2147485894" r:id="rId414"/>
    <p:sldLayoutId id="2147485895" r:id="rId415"/>
    <p:sldLayoutId id="2147485896" r:id="rId416"/>
    <p:sldLayoutId id="2147485897" r:id="rId417"/>
    <p:sldLayoutId id="2147485880" r:id="rId418"/>
    <p:sldLayoutId id="2147485881" r:id="rId419"/>
    <p:sldLayoutId id="2147485882" r:id="rId420"/>
    <p:sldLayoutId id="2147485883" r:id="rId421"/>
    <p:sldLayoutId id="2147485884" r:id="rId422"/>
    <p:sldLayoutId id="2147485885" r:id="rId423"/>
    <p:sldLayoutId id="2147485886" r:id="rId424"/>
    <p:sldLayoutId id="2147485887" r:id="rId425"/>
    <p:sldLayoutId id="2147485870" r:id="rId426"/>
    <p:sldLayoutId id="2147485871" r:id="rId427"/>
    <p:sldLayoutId id="2147485872" r:id="rId428"/>
    <p:sldLayoutId id="2147485873" r:id="rId429"/>
    <p:sldLayoutId id="2147485874" r:id="rId430"/>
    <p:sldLayoutId id="2147485875" r:id="rId431"/>
    <p:sldLayoutId id="2147485876" r:id="rId432"/>
    <p:sldLayoutId id="2147485877" r:id="rId433"/>
    <p:sldLayoutId id="2147485853" r:id="rId434"/>
    <p:sldLayoutId id="2147485854" r:id="rId435"/>
    <p:sldLayoutId id="2147485855" r:id="rId436"/>
    <p:sldLayoutId id="2147485856" r:id="rId437"/>
    <p:sldLayoutId id="2147485857" r:id="rId438"/>
    <p:sldLayoutId id="2147485858" r:id="rId439"/>
    <p:sldLayoutId id="2147485859" r:id="rId440"/>
    <p:sldLayoutId id="2147485860" r:id="rId441"/>
    <p:sldLayoutId id="2147485843" r:id="rId442"/>
    <p:sldLayoutId id="2147485844" r:id="rId443"/>
    <p:sldLayoutId id="2147485845" r:id="rId444"/>
    <p:sldLayoutId id="2147485846" r:id="rId445"/>
    <p:sldLayoutId id="2147485847" r:id="rId446"/>
    <p:sldLayoutId id="2147485848" r:id="rId447"/>
    <p:sldLayoutId id="2147485849" r:id="rId448"/>
    <p:sldLayoutId id="2147485850" r:id="rId449"/>
    <p:sldLayoutId id="2147485833" r:id="rId450"/>
    <p:sldLayoutId id="2147485834" r:id="rId451"/>
    <p:sldLayoutId id="2147485835" r:id="rId452"/>
    <p:sldLayoutId id="2147485836" r:id="rId453"/>
    <p:sldLayoutId id="2147485837" r:id="rId454"/>
    <p:sldLayoutId id="2147485838" r:id="rId455"/>
    <p:sldLayoutId id="2147485839" r:id="rId456"/>
    <p:sldLayoutId id="2147485840" r:id="rId457"/>
    <p:sldLayoutId id="2147485823" r:id="rId458"/>
    <p:sldLayoutId id="2147485824" r:id="rId459"/>
    <p:sldLayoutId id="2147485825" r:id="rId460"/>
    <p:sldLayoutId id="2147485826" r:id="rId461"/>
    <p:sldLayoutId id="2147485827" r:id="rId462"/>
    <p:sldLayoutId id="2147485828" r:id="rId463"/>
    <p:sldLayoutId id="2147485829" r:id="rId464"/>
    <p:sldLayoutId id="2147485830" r:id="rId465"/>
    <p:sldLayoutId id="2147485813" r:id="rId466"/>
    <p:sldLayoutId id="2147485814" r:id="rId467"/>
    <p:sldLayoutId id="2147485815" r:id="rId468"/>
    <p:sldLayoutId id="2147485816" r:id="rId469"/>
    <p:sldLayoutId id="2147485817" r:id="rId470"/>
    <p:sldLayoutId id="2147485818" r:id="rId471"/>
    <p:sldLayoutId id="2147485819" r:id="rId472"/>
    <p:sldLayoutId id="2147485820" r:id="rId473"/>
    <p:sldLayoutId id="2147485785" r:id="rId474"/>
    <p:sldLayoutId id="2147485786" r:id="rId475"/>
    <p:sldLayoutId id="2147485787" r:id="rId476"/>
    <p:sldLayoutId id="2147485788" r:id="rId477"/>
    <p:sldLayoutId id="2147485789" r:id="rId478"/>
    <p:sldLayoutId id="2147485790" r:id="rId479"/>
    <p:sldLayoutId id="2147485791" r:id="rId480"/>
    <p:sldLayoutId id="2147485792" r:id="rId481"/>
    <p:sldLayoutId id="2147485775" r:id="rId482"/>
    <p:sldLayoutId id="2147485776" r:id="rId483"/>
    <p:sldLayoutId id="2147485777" r:id="rId484"/>
    <p:sldLayoutId id="2147485778" r:id="rId485"/>
    <p:sldLayoutId id="2147485779" r:id="rId486"/>
    <p:sldLayoutId id="2147485780" r:id="rId487"/>
    <p:sldLayoutId id="2147485781" r:id="rId488"/>
    <p:sldLayoutId id="2147485782" r:id="rId489"/>
    <p:sldLayoutId id="2147485765" r:id="rId490"/>
    <p:sldLayoutId id="2147485766" r:id="rId491"/>
    <p:sldLayoutId id="2147485767" r:id="rId492"/>
    <p:sldLayoutId id="2147485768" r:id="rId493"/>
    <p:sldLayoutId id="2147485769" r:id="rId494"/>
    <p:sldLayoutId id="2147485770" r:id="rId495"/>
    <p:sldLayoutId id="2147485771" r:id="rId496"/>
    <p:sldLayoutId id="2147485772" r:id="rId497"/>
    <p:sldLayoutId id="2147485756" r:id="rId498"/>
    <p:sldLayoutId id="2147485757" r:id="rId499"/>
    <p:sldLayoutId id="2147485758" r:id="rId500"/>
    <p:sldLayoutId id="2147485759" r:id="rId501"/>
    <p:sldLayoutId id="2147485760" r:id="rId502"/>
    <p:sldLayoutId id="2147485761" r:id="rId503"/>
    <p:sldLayoutId id="2147485762" r:id="rId504"/>
    <p:sldLayoutId id="2147485763" r:id="rId505"/>
    <p:sldLayoutId id="2147485746" r:id="rId506"/>
    <p:sldLayoutId id="2147485747" r:id="rId507"/>
    <p:sldLayoutId id="2147485748" r:id="rId508"/>
    <p:sldLayoutId id="2147485749" r:id="rId509"/>
    <p:sldLayoutId id="2147485750" r:id="rId510"/>
    <p:sldLayoutId id="2147485751" r:id="rId511"/>
    <p:sldLayoutId id="2147485752" r:id="rId512"/>
    <p:sldLayoutId id="2147485753" r:id="rId513"/>
    <p:sldLayoutId id="2147485727" r:id="rId514"/>
    <p:sldLayoutId id="2147485728" r:id="rId515"/>
    <p:sldLayoutId id="2147485729" r:id="rId516"/>
    <p:sldLayoutId id="2147485730" r:id="rId517"/>
    <p:sldLayoutId id="2147485731" r:id="rId518"/>
    <p:sldLayoutId id="2147485732" r:id="rId519"/>
    <p:sldLayoutId id="2147485733" r:id="rId520"/>
    <p:sldLayoutId id="2147485734" r:id="rId521"/>
    <p:sldLayoutId id="2147485717" r:id="rId522"/>
    <p:sldLayoutId id="2147485718" r:id="rId523"/>
    <p:sldLayoutId id="2147485719" r:id="rId524"/>
    <p:sldLayoutId id="2147485720" r:id="rId525"/>
    <p:sldLayoutId id="2147485721" r:id="rId526"/>
    <p:sldLayoutId id="2147485722" r:id="rId527"/>
    <p:sldLayoutId id="2147485723" r:id="rId528"/>
    <p:sldLayoutId id="2147485724" r:id="rId529"/>
    <p:sldLayoutId id="2147485725" r:id="rId530"/>
    <p:sldLayoutId id="2147485707" r:id="rId531"/>
    <p:sldLayoutId id="2147485708" r:id="rId532"/>
    <p:sldLayoutId id="2147485709" r:id="rId533"/>
    <p:sldLayoutId id="2147485710" r:id="rId534"/>
    <p:sldLayoutId id="2147485711" r:id="rId535"/>
    <p:sldLayoutId id="2147485712" r:id="rId536"/>
    <p:sldLayoutId id="2147485713" r:id="rId537"/>
    <p:sldLayoutId id="2147485714" r:id="rId538"/>
    <p:sldLayoutId id="2147485715" r:id="rId539"/>
    <p:sldLayoutId id="2147485697" r:id="rId540"/>
    <p:sldLayoutId id="2147485698" r:id="rId541"/>
    <p:sldLayoutId id="2147485699" r:id="rId542"/>
    <p:sldLayoutId id="2147485700" r:id="rId543"/>
    <p:sldLayoutId id="2147485701" r:id="rId544"/>
    <p:sldLayoutId id="2147485702" r:id="rId545"/>
    <p:sldLayoutId id="2147485703" r:id="rId546"/>
    <p:sldLayoutId id="2147485704" r:id="rId547"/>
    <p:sldLayoutId id="2147485677" r:id="rId548"/>
    <p:sldLayoutId id="2147485678" r:id="rId549"/>
    <p:sldLayoutId id="2147485679" r:id="rId550"/>
    <p:sldLayoutId id="2147485680" r:id="rId551"/>
    <p:sldLayoutId id="2147485681" r:id="rId552"/>
    <p:sldLayoutId id="2147485682" r:id="rId553"/>
    <p:sldLayoutId id="2147485683" r:id="rId554"/>
    <p:sldLayoutId id="2147485684" r:id="rId555"/>
    <p:sldLayoutId id="2147485667" r:id="rId556"/>
    <p:sldLayoutId id="2147485668" r:id="rId557"/>
    <p:sldLayoutId id="2147485669" r:id="rId558"/>
    <p:sldLayoutId id="2147485670" r:id="rId559"/>
    <p:sldLayoutId id="2147485671" r:id="rId560"/>
    <p:sldLayoutId id="2147485672" r:id="rId561"/>
    <p:sldLayoutId id="2147485673" r:id="rId562"/>
    <p:sldLayoutId id="2147485674" r:id="rId563"/>
    <p:sldLayoutId id="2147485657" r:id="rId564"/>
    <p:sldLayoutId id="2147485658" r:id="rId565"/>
    <p:sldLayoutId id="2147485659" r:id="rId566"/>
    <p:sldLayoutId id="2147485660" r:id="rId567"/>
    <p:sldLayoutId id="2147485661" r:id="rId568"/>
    <p:sldLayoutId id="2147485662" r:id="rId569"/>
    <p:sldLayoutId id="2147485663" r:id="rId570"/>
    <p:sldLayoutId id="2147485664" r:id="rId571"/>
    <p:sldLayoutId id="2147485647" r:id="rId572"/>
    <p:sldLayoutId id="2147485648" r:id="rId573"/>
    <p:sldLayoutId id="2147485649" r:id="rId574"/>
    <p:sldLayoutId id="2147485650" r:id="rId575"/>
    <p:sldLayoutId id="2147485651" r:id="rId576"/>
    <p:sldLayoutId id="2147485652" r:id="rId577"/>
    <p:sldLayoutId id="2147485653" r:id="rId578"/>
    <p:sldLayoutId id="2147485654" r:id="rId579"/>
    <p:sldLayoutId id="2147485638" r:id="rId580"/>
    <p:sldLayoutId id="2147485639" r:id="rId581"/>
    <p:sldLayoutId id="2147485640" r:id="rId582"/>
    <p:sldLayoutId id="2147485642" r:id="rId583"/>
    <p:sldLayoutId id="2147485643" r:id="rId584"/>
    <p:sldLayoutId id="2147485644" r:id="rId585"/>
    <p:sldLayoutId id="2147485645" r:id="rId586"/>
    <p:sldLayoutId id="2147485629" r:id="rId587"/>
    <p:sldLayoutId id="2147485630" r:id="rId588"/>
    <p:sldLayoutId id="2147485631" r:id="rId589"/>
    <p:sldLayoutId id="2147485632" r:id="rId590"/>
    <p:sldLayoutId id="2147485633" r:id="rId591"/>
    <p:sldLayoutId id="2147485634" r:id="rId592"/>
    <p:sldLayoutId id="2147485635" r:id="rId593"/>
    <p:sldLayoutId id="2147485636" r:id="rId594"/>
    <p:sldLayoutId id="2147485619" r:id="rId595"/>
    <p:sldLayoutId id="2147485620" r:id="rId596"/>
    <p:sldLayoutId id="2147485621" r:id="rId597"/>
    <p:sldLayoutId id="2147485622" r:id="rId598"/>
    <p:sldLayoutId id="2147485623" r:id="rId599"/>
    <p:sldLayoutId id="2147485624" r:id="rId600"/>
    <p:sldLayoutId id="2147485625" r:id="rId601"/>
    <p:sldLayoutId id="2147485626" r:id="rId602"/>
    <p:sldLayoutId id="2147485609" r:id="rId603"/>
    <p:sldLayoutId id="2147485610" r:id="rId604"/>
    <p:sldLayoutId id="2147485611" r:id="rId605"/>
    <p:sldLayoutId id="2147485612" r:id="rId606"/>
    <p:sldLayoutId id="2147485613" r:id="rId607"/>
    <p:sldLayoutId id="2147485614" r:id="rId608"/>
    <p:sldLayoutId id="2147485615" r:id="rId609"/>
    <p:sldLayoutId id="2147485616" r:id="rId610"/>
    <p:sldLayoutId id="2147485599" r:id="rId611"/>
    <p:sldLayoutId id="2147485600" r:id="rId612"/>
    <p:sldLayoutId id="2147485601" r:id="rId613"/>
    <p:sldLayoutId id="2147485602" r:id="rId614"/>
    <p:sldLayoutId id="2147485603" r:id="rId615"/>
    <p:sldLayoutId id="2147485604" r:id="rId616"/>
    <p:sldLayoutId id="2147485605" r:id="rId617"/>
    <p:sldLayoutId id="2147485606" r:id="rId618"/>
    <p:sldLayoutId id="2147485589" r:id="rId619"/>
    <p:sldLayoutId id="2147485590" r:id="rId620"/>
    <p:sldLayoutId id="2147485591" r:id="rId621"/>
    <p:sldLayoutId id="2147485592" r:id="rId622"/>
    <p:sldLayoutId id="2147485593" r:id="rId623"/>
    <p:sldLayoutId id="2147485594" r:id="rId624"/>
    <p:sldLayoutId id="2147485595" r:id="rId625"/>
    <p:sldLayoutId id="2147485596" r:id="rId626"/>
    <p:sldLayoutId id="2147485579" r:id="rId627"/>
    <p:sldLayoutId id="2147485580" r:id="rId628"/>
    <p:sldLayoutId id="2147485581" r:id="rId629"/>
    <p:sldLayoutId id="2147485582" r:id="rId630"/>
    <p:sldLayoutId id="2147485583" r:id="rId631"/>
    <p:sldLayoutId id="2147485584" r:id="rId632"/>
    <p:sldLayoutId id="2147485585" r:id="rId633"/>
    <p:sldLayoutId id="2147485586" r:id="rId634"/>
    <p:sldLayoutId id="2147485569" r:id="rId635"/>
    <p:sldLayoutId id="2147485570" r:id="rId636"/>
    <p:sldLayoutId id="2147485571" r:id="rId637"/>
    <p:sldLayoutId id="2147485572" r:id="rId638"/>
    <p:sldLayoutId id="2147485573" r:id="rId639"/>
    <p:sldLayoutId id="2147485574" r:id="rId640"/>
    <p:sldLayoutId id="2147485575" r:id="rId641"/>
    <p:sldLayoutId id="2147485576" r:id="rId642"/>
    <p:sldLayoutId id="2147485577" r:id="rId643"/>
    <p:sldLayoutId id="2147485559" r:id="rId644"/>
    <p:sldLayoutId id="2147485560" r:id="rId645"/>
    <p:sldLayoutId id="2147485561" r:id="rId646"/>
    <p:sldLayoutId id="2147485562" r:id="rId647"/>
    <p:sldLayoutId id="2147485563" r:id="rId648"/>
    <p:sldLayoutId id="2147485564" r:id="rId649"/>
    <p:sldLayoutId id="2147485565" r:id="rId650"/>
    <p:sldLayoutId id="2147485566" r:id="rId651"/>
    <p:sldLayoutId id="2147485549" r:id="rId652"/>
    <p:sldLayoutId id="2147485550" r:id="rId653"/>
    <p:sldLayoutId id="2147485551" r:id="rId654"/>
    <p:sldLayoutId id="2147485552" r:id="rId655"/>
    <p:sldLayoutId id="2147485553" r:id="rId656"/>
    <p:sldLayoutId id="2147485554" r:id="rId657"/>
    <p:sldLayoutId id="2147485555" r:id="rId658"/>
    <p:sldLayoutId id="2147485556" r:id="rId659"/>
    <p:sldLayoutId id="2147485539" r:id="rId660"/>
    <p:sldLayoutId id="2147485540" r:id="rId661"/>
    <p:sldLayoutId id="2147485541" r:id="rId662"/>
    <p:sldLayoutId id="2147485542" r:id="rId663"/>
    <p:sldLayoutId id="2147485543" r:id="rId664"/>
    <p:sldLayoutId id="2147485544" r:id="rId665"/>
    <p:sldLayoutId id="2147485545" r:id="rId666"/>
    <p:sldLayoutId id="2147485546" r:id="rId667"/>
    <p:sldLayoutId id="2147485510" r:id="rId668"/>
    <p:sldLayoutId id="2147485511" r:id="rId669"/>
    <p:sldLayoutId id="2147485512" r:id="rId670"/>
    <p:sldLayoutId id="2147485513" r:id="rId671"/>
    <p:sldLayoutId id="2147485514" r:id="rId672"/>
    <p:sldLayoutId id="2147485515" r:id="rId673"/>
    <p:sldLayoutId id="2147485516" r:id="rId674"/>
    <p:sldLayoutId id="2147485517" r:id="rId675"/>
    <p:sldLayoutId id="2147485472" r:id="rId676"/>
    <p:sldLayoutId id="2147485473" r:id="rId677"/>
    <p:sldLayoutId id="2147485474" r:id="rId678"/>
    <p:sldLayoutId id="2147485475" r:id="rId679"/>
    <p:sldLayoutId id="2147485476" r:id="rId680"/>
    <p:sldLayoutId id="2147485477" r:id="rId681"/>
    <p:sldLayoutId id="2147485478" r:id="rId682"/>
    <p:sldLayoutId id="2147485479" r:id="rId683"/>
    <p:sldLayoutId id="2147485463" r:id="rId684"/>
    <p:sldLayoutId id="2147485464" r:id="rId685"/>
    <p:sldLayoutId id="2147485465" r:id="rId686"/>
    <p:sldLayoutId id="2147485466" r:id="rId687"/>
    <p:sldLayoutId id="2147485467" r:id="rId688"/>
    <p:sldLayoutId id="2147485468" r:id="rId689"/>
    <p:sldLayoutId id="2147485469" r:id="rId690"/>
    <p:sldLayoutId id="2147485470" r:id="rId691"/>
    <p:sldLayoutId id="2147485445" r:id="rId692"/>
    <p:sldLayoutId id="2147485446" r:id="rId693"/>
    <p:sldLayoutId id="2147485447" r:id="rId694"/>
    <p:sldLayoutId id="2147485448" r:id="rId695"/>
    <p:sldLayoutId id="2147485449" r:id="rId696"/>
    <p:sldLayoutId id="2147485450" r:id="rId697"/>
    <p:sldLayoutId id="2147485451" r:id="rId698"/>
    <p:sldLayoutId id="2147485452" r:id="rId699"/>
    <p:sldLayoutId id="2147485435" r:id="rId700"/>
    <p:sldLayoutId id="2147485436" r:id="rId701"/>
    <p:sldLayoutId id="2147485437" r:id="rId702"/>
    <p:sldLayoutId id="2147485438" r:id="rId703"/>
    <p:sldLayoutId id="2147485439" r:id="rId704"/>
    <p:sldLayoutId id="2147485440" r:id="rId705"/>
    <p:sldLayoutId id="2147485441" r:id="rId706"/>
    <p:sldLayoutId id="2147485442" r:id="rId707"/>
    <p:sldLayoutId id="2147485425" r:id="rId708"/>
    <p:sldLayoutId id="2147485426" r:id="rId709"/>
    <p:sldLayoutId id="2147485427" r:id="rId710"/>
    <p:sldLayoutId id="2147485428" r:id="rId711"/>
    <p:sldLayoutId id="2147485429" r:id="rId712"/>
    <p:sldLayoutId id="2147485430" r:id="rId713"/>
    <p:sldLayoutId id="2147485431" r:id="rId714"/>
    <p:sldLayoutId id="2147485432" r:id="rId715"/>
    <p:sldLayoutId id="2147485406" r:id="rId716"/>
    <p:sldLayoutId id="2147485407" r:id="rId717"/>
    <p:sldLayoutId id="2147485408" r:id="rId718"/>
    <p:sldLayoutId id="2147485409" r:id="rId719"/>
    <p:sldLayoutId id="2147485410" r:id="rId720"/>
    <p:sldLayoutId id="2147485411" r:id="rId721"/>
    <p:sldLayoutId id="2147485412" r:id="rId722"/>
    <p:sldLayoutId id="2147485413" r:id="rId723"/>
    <p:sldLayoutId id="2147485396" r:id="rId724"/>
    <p:sldLayoutId id="2147485397" r:id="rId725"/>
    <p:sldLayoutId id="2147485398" r:id="rId726"/>
    <p:sldLayoutId id="2147485399" r:id="rId727"/>
    <p:sldLayoutId id="2147485400" r:id="rId728"/>
    <p:sldLayoutId id="2147485401" r:id="rId729"/>
    <p:sldLayoutId id="2147485402" r:id="rId730"/>
    <p:sldLayoutId id="2147485403" r:id="rId731"/>
    <p:sldLayoutId id="2147485404" r:id="rId732"/>
    <p:sldLayoutId id="2147485386" r:id="rId733"/>
    <p:sldLayoutId id="2147485387" r:id="rId734"/>
    <p:sldLayoutId id="2147485388" r:id="rId735"/>
    <p:sldLayoutId id="2147485389" r:id="rId736"/>
    <p:sldLayoutId id="2147485390" r:id="rId737"/>
    <p:sldLayoutId id="2147485391" r:id="rId738"/>
    <p:sldLayoutId id="2147485392" r:id="rId739"/>
    <p:sldLayoutId id="2147485393" r:id="rId740"/>
    <p:sldLayoutId id="2147485377" r:id="rId741"/>
    <p:sldLayoutId id="2147485378" r:id="rId742"/>
    <p:sldLayoutId id="2147485379" r:id="rId743"/>
    <p:sldLayoutId id="2147485380" r:id="rId744"/>
    <p:sldLayoutId id="2147485381" r:id="rId745"/>
    <p:sldLayoutId id="2147485382" r:id="rId746"/>
    <p:sldLayoutId id="2147485383" r:id="rId747"/>
    <p:sldLayoutId id="2147485384" r:id="rId748"/>
    <p:sldLayoutId id="2147485368" r:id="rId749"/>
    <p:sldLayoutId id="2147485369" r:id="rId750"/>
    <p:sldLayoutId id="2147485370" r:id="rId751"/>
    <p:sldLayoutId id="2147485371" r:id="rId752"/>
    <p:sldLayoutId id="2147485372" r:id="rId753"/>
    <p:sldLayoutId id="2147485373" r:id="rId754"/>
    <p:sldLayoutId id="2147485374" r:id="rId755"/>
    <p:sldLayoutId id="2147485375" r:id="rId756"/>
    <p:sldLayoutId id="2147485359" r:id="rId757"/>
    <p:sldLayoutId id="2147485360" r:id="rId758"/>
    <p:sldLayoutId id="2147485361" r:id="rId759"/>
    <p:sldLayoutId id="2147485362" r:id="rId760"/>
    <p:sldLayoutId id="2147485363" r:id="rId761"/>
    <p:sldLayoutId id="2147485364" r:id="rId762"/>
    <p:sldLayoutId id="2147485365" r:id="rId763"/>
    <p:sldLayoutId id="2147485366" r:id="rId764"/>
    <p:sldLayoutId id="2147485349" r:id="rId765"/>
    <p:sldLayoutId id="2147485350" r:id="rId766"/>
    <p:sldLayoutId id="2147485351" r:id="rId767"/>
    <p:sldLayoutId id="2147485352" r:id="rId768"/>
    <p:sldLayoutId id="2147485353" r:id="rId769"/>
    <p:sldLayoutId id="2147485354" r:id="rId770"/>
    <p:sldLayoutId id="2147485355" r:id="rId771"/>
    <p:sldLayoutId id="2147485356" r:id="rId772"/>
    <p:sldLayoutId id="2147485340" r:id="rId773"/>
    <p:sldLayoutId id="2147485341" r:id="rId774"/>
    <p:sldLayoutId id="2147485342" r:id="rId775"/>
    <p:sldLayoutId id="2147485343" r:id="rId776"/>
    <p:sldLayoutId id="2147485344" r:id="rId777"/>
    <p:sldLayoutId id="2147485345" r:id="rId778"/>
    <p:sldLayoutId id="2147485346" r:id="rId779"/>
    <p:sldLayoutId id="2147485347" r:id="rId780"/>
    <p:sldLayoutId id="2147485331" r:id="rId781"/>
    <p:sldLayoutId id="2147485332" r:id="rId782"/>
    <p:sldLayoutId id="2147485333" r:id="rId783"/>
    <p:sldLayoutId id="2147485334" r:id="rId784"/>
    <p:sldLayoutId id="2147485335" r:id="rId785"/>
    <p:sldLayoutId id="2147485336" r:id="rId786"/>
    <p:sldLayoutId id="2147485337" r:id="rId787"/>
    <p:sldLayoutId id="2147485338" r:id="rId788"/>
    <p:sldLayoutId id="2147485187" r:id="rId789"/>
    <p:sldLayoutId id="2147485188" r:id="rId790"/>
    <p:sldLayoutId id="2147485189" r:id="rId791"/>
    <p:sldLayoutId id="2147485190" r:id="rId792"/>
    <p:sldLayoutId id="2147485191" r:id="rId793"/>
    <p:sldLayoutId id="2147485192" r:id="rId794"/>
    <p:sldLayoutId id="2147485193" r:id="rId795"/>
    <p:sldLayoutId id="2147485194" r:id="rId796"/>
    <p:sldLayoutId id="2147485196" r:id="rId797"/>
    <p:sldLayoutId id="2147485197" r:id="rId798"/>
    <p:sldLayoutId id="2147485198" r:id="rId799"/>
    <p:sldLayoutId id="2147485199" r:id="rId800"/>
    <p:sldLayoutId id="2147485169" r:id="rId801"/>
    <p:sldLayoutId id="2147485170" r:id="rId802"/>
    <p:sldLayoutId id="2147485171" r:id="rId803"/>
    <p:sldLayoutId id="2147485172" r:id="rId804"/>
    <p:sldLayoutId id="2147485173" r:id="rId805"/>
    <p:sldLayoutId id="2147485174" r:id="rId806"/>
    <p:sldLayoutId id="2147485175" r:id="rId807"/>
    <p:sldLayoutId id="2147485176" r:id="rId808"/>
    <p:sldLayoutId id="2147485178" r:id="rId809"/>
    <p:sldLayoutId id="2147485179" r:id="rId810"/>
    <p:sldLayoutId id="2147485180" r:id="rId811"/>
    <p:sldLayoutId id="2147485181" r:id="rId812"/>
    <p:sldLayoutId id="2147485160" r:id="rId813"/>
    <p:sldLayoutId id="2147485161" r:id="rId814"/>
    <p:sldLayoutId id="2147485162" r:id="rId815"/>
    <p:sldLayoutId id="2147485163" r:id="rId816"/>
    <p:sldLayoutId id="2147485164" r:id="rId817"/>
    <p:sldLayoutId id="2147485165" r:id="rId818"/>
    <p:sldLayoutId id="2147485166" r:id="rId819"/>
    <p:sldLayoutId id="2147485167" r:id="rId820"/>
    <p:sldLayoutId id="2147485151" r:id="rId821"/>
    <p:sldLayoutId id="2147485152" r:id="rId822"/>
    <p:sldLayoutId id="2147485153" r:id="rId823"/>
    <p:sldLayoutId id="2147485154" r:id="rId824"/>
    <p:sldLayoutId id="2147485155" r:id="rId825"/>
    <p:sldLayoutId id="2147485156" r:id="rId826"/>
    <p:sldLayoutId id="2147485157" r:id="rId827"/>
    <p:sldLayoutId id="2147485158" r:id="rId828"/>
    <p:sldLayoutId id="2147485141" r:id="rId829"/>
    <p:sldLayoutId id="2147485142" r:id="rId830"/>
    <p:sldLayoutId id="2147485143" r:id="rId831"/>
    <p:sldLayoutId id="2147485144" r:id="rId832"/>
    <p:sldLayoutId id="2147485145" r:id="rId833"/>
    <p:sldLayoutId id="2147485146" r:id="rId834"/>
    <p:sldLayoutId id="2147485147" r:id="rId835"/>
    <p:sldLayoutId id="2147485148" r:id="rId836"/>
    <p:sldLayoutId id="2147485132" r:id="rId837"/>
    <p:sldLayoutId id="2147485133" r:id="rId838"/>
    <p:sldLayoutId id="2147485134" r:id="rId839"/>
    <p:sldLayoutId id="2147485135" r:id="rId840"/>
    <p:sldLayoutId id="2147485136" r:id="rId841"/>
    <p:sldLayoutId id="2147485137" r:id="rId842"/>
    <p:sldLayoutId id="2147485138" r:id="rId843"/>
    <p:sldLayoutId id="2147485139" r:id="rId844"/>
    <p:sldLayoutId id="2147485113" r:id="rId845"/>
    <p:sldLayoutId id="2147485114" r:id="rId846"/>
    <p:sldLayoutId id="2147485115" r:id="rId847"/>
    <p:sldLayoutId id="2147485116" r:id="rId848"/>
    <p:sldLayoutId id="2147485117" r:id="rId849"/>
    <p:sldLayoutId id="2147485118" r:id="rId850"/>
    <p:sldLayoutId id="2147485119" r:id="rId851"/>
    <p:sldLayoutId id="2147485120" r:id="rId852"/>
    <p:sldLayoutId id="2147485104" r:id="rId853"/>
    <p:sldLayoutId id="2147485105" r:id="rId854"/>
    <p:sldLayoutId id="2147485106" r:id="rId855"/>
    <p:sldLayoutId id="2147485107" r:id="rId856"/>
    <p:sldLayoutId id="2147485108" r:id="rId857"/>
    <p:sldLayoutId id="2147485109" r:id="rId858"/>
    <p:sldLayoutId id="2147485110" r:id="rId859"/>
    <p:sldLayoutId id="2147485111" r:id="rId860"/>
    <p:sldLayoutId id="2147485094" r:id="rId861"/>
    <p:sldLayoutId id="2147485095" r:id="rId862"/>
    <p:sldLayoutId id="2147485096" r:id="rId863"/>
    <p:sldLayoutId id="2147485097" r:id="rId864"/>
    <p:sldLayoutId id="2147485098" r:id="rId865"/>
    <p:sldLayoutId id="2147485099" r:id="rId866"/>
    <p:sldLayoutId id="2147485100" r:id="rId867"/>
    <p:sldLayoutId id="2147485101" r:id="rId868"/>
    <p:sldLayoutId id="2147485084" r:id="rId869"/>
    <p:sldLayoutId id="2147485085" r:id="rId870"/>
    <p:sldLayoutId id="2147485086" r:id="rId871"/>
    <p:sldLayoutId id="2147485087" r:id="rId872"/>
    <p:sldLayoutId id="2147485088" r:id="rId873"/>
    <p:sldLayoutId id="2147485089" r:id="rId874"/>
    <p:sldLayoutId id="2147485090" r:id="rId875"/>
    <p:sldLayoutId id="2147485091" r:id="rId876"/>
    <p:sldLayoutId id="2147485065" r:id="rId877"/>
    <p:sldLayoutId id="2147485066" r:id="rId878"/>
    <p:sldLayoutId id="2147485067" r:id="rId879"/>
    <p:sldLayoutId id="2147485068" r:id="rId880"/>
    <p:sldLayoutId id="2147485069" r:id="rId881"/>
    <p:sldLayoutId id="2147485070" r:id="rId882"/>
    <p:sldLayoutId id="2147485071" r:id="rId883"/>
    <p:sldLayoutId id="2147485072" r:id="rId884"/>
    <p:sldLayoutId id="2147485055" r:id="rId885"/>
    <p:sldLayoutId id="2147485056" r:id="rId886"/>
    <p:sldLayoutId id="2147485057" r:id="rId887"/>
    <p:sldLayoutId id="2147485058" r:id="rId888"/>
    <p:sldLayoutId id="2147485059" r:id="rId889"/>
    <p:sldLayoutId id="2147485060" r:id="rId890"/>
    <p:sldLayoutId id="2147485061" r:id="rId891"/>
    <p:sldLayoutId id="2147485062" r:id="rId892"/>
    <p:sldLayoutId id="2147485046" r:id="rId893"/>
    <p:sldLayoutId id="2147485047" r:id="rId894"/>
    <p:sldLayoutId id="2147485048" r:id="rId895"/>
    <p:sldLayoutId id="2147485049" r:id="rId896"/>
    <p:sldLayoutId id="2147485050" r:id="rId897"/>
    <p:sldLayoutId id="2147485051" r:id="rId898"/>
    <p:sldLayoutId id="2147485052" r:id="rId899"/>
    <p:sldLayoutId id="2147485053" r:id="rId900"/>
    <p:sldLayoutId id="2147485036" r:id="rId901"/>
    <p:sldLayoutId id="2147485037" r:id="rId902"/>
    <p:sldLayoutId id="2147485038" r:id="rId903"/>
    <p:sldLayoutId id="2147485039" r:id="rId904"/>
    <p:sldLayoutId id="2147485040" r:id="rId905"/>
    <p:sldLayoutId id="2147485041" r:id="rId906"/>
    <p:sldLayoutId id="2147485042" r:id="rId907"/>
    <p:sldLayoutId id="2147485043" r:id="rId908"/>
    <p:sldLayoutId id="2147485026" r:id="rId909"/>
    <p:sldLayoutId id="2147485027" r:id="rId910"/>
    <p:sldLayoutId id="2147485028" r:id="rId911"/>
    <p:sldLayoutId id="2147485029" r:id="rId912"/>
    <p:sldLayoutId id="2147485030" r:id="rId913"/>
    <p:sldLayoutId id="2147485031" r:id="rId914"/>
    <p:sldLayoutId id="2147485032" r:id="rId915"/>
    <p:sldLayoutId id="2147485033" r:id="rId916"/>
    <p:sldLayoutId id="2147485016" r:id="rId917"/>
    <p:sldLayoutId id="2147485017" r:id="rId918"/>
    <p:sldLayoutId id="2147485018" r:id="rId919"/>
    <p:sldLayoutId id="2147485019" r:id="rId920"/>
    <p:sldLayoutId id="2147485020" r:id="rId921"/>
    <p:sldLayoutId id="2147485021" r:id="rId922"/>
    <p:sldLayoutId id="2147485022" r:id="rId923"/>
    <p:sldLayoutId id="2147485023" r:id="rId924"/>
    <p:sldLayoutId id="2147485006" r:id="rId925"/>
    <p:sldLayoutId id="2147485007" r:id="rId926"/>
    <p:sldLayoutId id="2147485008" r:id="rId927"/>
    <p:sldLayoutId id="2147485009" r:id="rId928"/>
    <p:sldLayoutId id="2147485010" r:id="rId929"/>
    <p:sldLayoutId id="2147485011" r:id="rId930"/>
    <p:sldLayoutId id="2147485012" r:id="rId931"/>
    <p:sldLayoutId id="2147485013" r:id="rId932"/>
    <p:sldLayoutId id="2147484996" r:id="rId933"/>
    <p:sldLayoutId id="2147484997" r:id="rId934"/>
    <p:sldLayoutId id="2147484998" r:id="rId935"/>
    <p:sldLayoutId id="2147484999" r:id="rId936"/>
    <p:sldLayoutId id="2147485000" r:id="rId937"/>
    <p:sldLayoutId id="2147485001" r:id="rId938"/>
    <p:sldLayoutId id="2147485002" r:id="rId939"/>
    <p:sldLayoutId id="2147485003" r:id="rId940"/>
    <p:sldLayoutId id="2147484986" r:id="rId941"/>
    <p:sldLayoutId id="2147484987" r:id="rId942"/>
    <p:sldLayoutId id="2147484988" r:id="rId943"/>
    <p:sldLayoutId id="2147484989" r:id="rId944"/>
    <p:sldLayoutId id="2147484990" r:id="rId945"/>
    <p:sldLayoutId id="2147484991" r:id="rId946"/>
    <p:sldLayoutId id="2147484992" r:id="rId947"/>
    <p:sldLayoutId id="2147484993" r:id="rId948"/>
    <p:sldLayoutId id="2147484976" r:id="rId949"/>
    <p:sldLayoutId id="2147484977" r:id="rId950"/>
    <p:sldLayoutId id="2147484978" r:id="rId951"/>
    <p:sldLayoutId id="2147484979" r:id="rId952"/>
    <p:sldLayoutId id="2147484980" r:id="rId953"/>
    <p:sldLayoutId id="2147484981" r:id="rId954"/>
    <p:sldLayoutId id="2147484982" r:id="rId955"/>
    <p:sldLayoutId id="2147484983" r:id="rId956"/>
    <p:sldLayoutId id="2147484925" r:id="rId957"/>
    <p:sldLayoutId id="2147484926" r:id="rId958"/>
    <p:sldLayoutId id="2147484927" r:id="rId959"/>
    <p:sldLayoutId id="2147484928" r:id="rId960"/>
    <p:sldLayoutId id="2147484929" r:id="rId961"/>
    <p:sldLayoutId id="2147484930" r:id="rId962"/>
    <p:sldLayoutId id="2147484931" r:id="rId963"/>
    <p:sldLayoutId id="2147484932" r:id="rId964"/>
    <p:sldLayoutId id="2147484862" r:id="rId965"/>
    <p:sldLayoutId id="2147484863" r:id="rId966"/>
    <p:sldLayoutId id="2147484864" r:id="rId967"/>
    <p:sldLayoutId id="2147484865" r:id="rId968"/>
    <p:sldLayoutId id="2147484866" r:id="rId969"/>
    <p:sldLayoutId id="2147484867" r:id="rId970"/>
    <p:sldLayoutId id="2147484868" r:id="rId971"/>
    <p:sldLayoutId id="2147484869" r:id="rId972"/>
    <p:sldLayoutId id="2147484853" r:id="rId973"/>
    <p:sldLayoutId id="2147484854" r:id="rId974"/>
    <p:sldLayoutId id="2147484855" r:id="rId975"/>
    <p:sldLayoutId id="2147484856" r:id="rId976"/>
    <p:sldLayoutId id="2147484857" r:id="rId977"/>
    <p:sldLayoutId id="2147484858" r:id="rId978"/>
    <p:sldLayoutId id="2147484859" r:id="rId979"/>
    <p:sldLayoutId id="2147484860" r:id="rId980"/>
    <p:sldLayoutId id="2147484843" r:id="rId981"/>
    <p:sldLayoutId id="2147484844" r:id="rId982"/>
    <p:sldLayoutId id="2147484845" r:id="rId983"/>
    <p:sldLayoutId id="2147484846" r:id="rId984"/>
    <p:sldLayoutId id="2147484847" r:id="rId985"/>
    <p:sldLayoutId id="2147484848" r:id="rId986"/>
    <p:sldLayoutId id="2147484849" r:id="rId987"/>
    <p:sldLayoutId id="2147484850" r:id="rId988"/>
    <p:sldLayoutId id="2147484833" r:id="rId989"/>
    <p:sldLayoutId id="2147484834" r:id="rId990"/>
    <p:sldLayoutId id="2147484835" r:id="rId991"/>
    <p:sldLayoutId id="2147484836" r:id="rId992"/>
    <p:sldLayoutId id="2147484837" r:id="rId993"/>
    <p:sldLayoutId id="2147484838" r:id="rId994"/>
    <p:sldLayoutId id="2147484839" r:id="rId995"/>
    <p:sldLayoutId id="2147484840" r:id="rId996"/>
    <p:sldLayoutId id="2147484824" r:id="rId997"/>
    <p:sldLayoutId id="2147484825" r:id="rId998"/>
    <p:sldLayoutId id="2147484826" r:id="rId999"/>
    <p:sldLayoutId id="2147484827" r:id="rId1000"/>
    <p:sldLayoutId id="2147484828" r:id="rId1001"/>
    <p:sldLayoutId id="2147484829" r:id="rId1002"/>
    <p:sldLayoutId id="2147484830" r:id="rId1003"/>
    <p:sldLayoutId id="2147484831" r:id="rId1004"/>
    <p:sldLayoutId id="2147484804" r:id="rId1005"/>
    <p:sldLayoutId id="2147484805" r:id="rId1006"/>
    <p:sldLayoutId id="2147484806" r:id="rId1007"/>
    <p:sldLayoutId id="2147484807" r:id="rId1008"/>
    <p:sldLayoutId id="2147484808" r:id="rId1009"/>
    <p:sldLayoutId id="2147484809" r:id="rId1010"/>
    <p:sldLayoutId id="2147484810" r:id="rId1011"/>
    <p:sldLayoutId id="2147484811" r:id="rId1012"/>
    <p:sldLayoutId id="2147484768" r:id="rId1013"/>
    <p:sldLayoutId id="2147484769" r:id="rId1014"/>
    <p:sldLayoutId id="2147484770" r:id="rId1015"/>
    <p:sldLayoutId id="2147484771" r:id="rId1016"/>
    <p:sldLayoutId id="2147484772" r:id="rId1017"/>
    <p:sldLayoutId id="2147484773" r:id="rId1018"/>
    <p:sldLayoutId id="2147484774" r:id="rId1019"/>
    <p:sldLayoutId id="2147484775" r:id="rId1020"/>
    <p:sldLayoutId id="2147484776" r:id="rId1021"/>
    <p:sldLayoutId id="2147484777" r:id="rId1022"/>
    <p:sldLayoutId id="2147484778" r:id="rId102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000" kern="1200">
          <a:solidFill>
            <a:srgbClr val="005AAA"/>
          </a:solidFill>
          <a:latin typeface="+mj-lt"/>
          <a:ea typeface="+mj-ea"/>
          <a:cs typeface="+mj-cs"/>
        </a:defRPr>
      </a:lvl1pPr>
    </p:titleStyle>
    <p:bodyStyle>
      <a:lvl1pPr marL="3429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95959"/>
          </a:solidFill>
          <a:latin typeface="+mn-lt"/>
          <a:ea typeface="+mn-ea"/>
          <a:cs typeface="+mn-cs"/>
        </a:defRPr>
      </a:lvl1pPr>
      <a:lvl2pPr marL="74295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595959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595959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595959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595959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2"/>
            </p:custDataLst>
            <p:extLst>
              <p:ext uri="{D42A27DB-BD31-4B8C-83A1-F6EECF244321}">
                <p14:modId xmlns:p14="http://schemas.microsoft.com/office/powerpoint/2010/main" val="379033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207" name="think-cell Slide" r:id="rId303" imgW="270" imgH="270" progId="TCLayout.ActiveDocument.1">
                  <p:embed/>
                </p:oleObj>
              </mc:Choice>
              <mc:Fallback>
                <p:oleObj name="think-cell Slide" r:id="rId30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8804030" y="6611779"/>
            <a:ext cx="339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5720" rIns="90488" bIns="45720" anchor="ctr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</a:pPr>
            <a:fld id="{090EB062-F74A-48E3-949C-AE146B96ACCE}" type="slidenum">
              <a:rPr lang="en-US" sz="1000">
                <a:solidFill>
                  <a:srgbClr val="AAAAAA"/>
                </a:solidFill>
                <a:latin typeface="Arial"/>
                <a:cs typeface="Arial" panose="020B0604020202020204" pitchFamily="34" charset="0"/>
              </a:rPr>
              <a:pPr algn="ctr" defTabSz="457200" eaLnBrk="0" fontAlgn="auto" hangingPunct="0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00" dirty="0">
              <a:solidFill>
                <a:srgbClr val="AAAAAA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035279" y="6611779"/>
            <a:ext cx="770687" cy="2462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AAAAAA"/>
                </a:solidFill>
                <a:latin typeface="Arial"/>
                <a:cs typeface="Arial" panose="020B0604020202020204" pitchFamily="34" charset="0"/>
              </a:rPr>
              <a:t>© FSG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473788" y="6611779"/>
            <a:ext cx="450476" cy="2462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AAAAAA"/>
                </a:solidFill>
                <a:latin typeface="Arial"/>
                <a:cs typeface="Arial" panose="020B0604020202020204" pitchFamily="34" charset="0"/>
              </a:rPr>
              <a:t>| </a:t>
            </a:r>
          </a:p>
        </p:txBody>
      </p:sp>
    </p:spTree>
    <p:extLst>
      <p:ext uri="{BB962C8B-B14F-4D97-AF65-F5344CB8AC3E}">
        <p14:creationId xmlns:p14="http://schemas.microsoft.com/office/powerpoint/2010/main" val="700503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97" r:id="rId1"/>
    <p:sldLayoutId id="2147486498" r:id="rId2"/>
    <p:sldLayoutId id="2147486499" r:id="rId3"/>
    <p:sldLayoutId id="2147486500" r:id="rId4"/>
    <p:sldLayoutId id="2147486501" r:id="rId5"/>
    <p:sldLayoutId id="2147486502" r:id="rId6"/>
    <p:sldLayoutId id="2147486503" r:id="rId7"/>
    <p:sldLayoutId id="2147486504" r:id="rId8"/>
    <p:sldLayoutId id="2147486505" r:id="rId9"/>
    <p:sldLayoutId id="2147486506" r:id="rId10"/>
    <p:sldLayoutId id="2147486507" r:id="rId11"/>
    <p:sldLayoutId id="2147486508" r:id="rId12"/>
    <p:sldLayoutId id="2147486509" r:id="rId13"/>
    <p:sldLayoutId id="2147486510" r:id="rId14"/>
    <p:sldLayoutId id="2147486511" r:id="rId15"/>
    <p:sldLayoutId id="2147486512" r:id="rId16"/>
    <p:sldLayoutId id="2147486513" r:id="rId17"/>
    <p:sldLayoutId id="2147486514" r:id="rId18"/>
    <p:sldLayoutId id="2147486515" r:id="rId19"/>
    <p:sldLayoutId id="2147486516" r:id="rId20"/>
    <p:sldLayoutId id="2147486517" r:id="rId21"/>
    <p:sldLayoutId id="2147486518" r:id="rId22"/>
    <p:sldLayoutId id="2147486519" r:id="rId23"/>
    <p:sldLayoutId id="2147486520" r:id="rId24"/>
    <p:sldLayoutId id="2147486521" r:id="rId25"/>
    <p:sldLayoutId id="2147486522" r:id="rId26"/>
    <p:sldLayoutId id="2147486523" r:id="rId27"/>
    <p:sldLayoutId id="2147486524" r:id="rId28"/>
    <p:sldLayoutId id="2147486525" r:id="rId29"/>
    <p:sldLayoutId id="2147486526" r:id="rId30"/>
    <p:sldLayoutId id="2147486527" r:id="rId31"/>
    <p:sldLayoutId id="2147486528" r:id="rId32"/>
    <p:sldLayoutId id="2147486529" r:id="rId33"/>
    <p:sldLayoutId id="2147486530" r:id="rId34"/>
    <p:sldLayoutId id="2147486531" r:id="rId35"/>
    <p:sldLayoutId id="2147486532" r:id="rId36"/>
    <p:sldLayoutId id="2147486533" r:id="rId37"/>
    <p:sldLayoutId id="2147486534" r:id="rId38"/>
    <p:sldLayoutId id="2147486535" r:id="rId39"/>
    <p:sldLayoutId id="2147486536" r:id="rId40"/>
    <p:sldLayoutId id="2147486537" r:id="rId41"/>
    <p:sldLayoutId id="2147486538" r:id="rId42"/>
    <p:sldLayoutId id="2147486539" r:id="rId43"/>
    <p:sldLayoutId id="2147486540" r:id="rId44"/>
    <p:sldLayoutId id="2147486541" r:id="rId45"/>
    <p:sldLayoutId id="2147486542" r:id="rId46"/>
    <p:sldLayoutId id="2147486543" r:id="rId47"/>
    <p:sldLayoutId id="2147486544" r:id="rId48"/>
    <p:sldLayoutId id="2147486545" r:id="rId49"/>
    <p:sldLayoutId id="2147486546" r:id="rId50"/>
    <p:sldLayoutId id="2147486547" r:id="rId51"/>
    <p:sldLayoutId id="2147486548" r:id="rId52"/>
    <p:sldLayoutId id="2147486549" r:id="rId53"/>
    <p:sldLayoutId id="2147486550" r:id="rId54"/>
    <p:sldLayoutId id="2147486551" r:id="rId55"/>
    <p:sldLayoutId id="2147486552" r:id="rId56"/>
    <p:sldLayoutId id="2147486553" r:id="rId57"/>
    <p:sldLayoutId id="2147486554" r:id="rId58"/>
    <p:sldLayoutId id="2147486555" r:id="rId59"/>
    <p:sldLayoutId id="2147486556" r:id="rId60"/>
    <p:sldLayoutId id="2147486557" r:id="rId61"/>
    <p:sldLayoutId id="2147486558" r:id="rId62"/>
    <p:sldLayoutId id="2147486559" r:id="rId63"/>
    <p:sldLayoutId id="2147486560" r:id="rId64"/>
    <p:sldLayoutId id="2147486561" r:id="rId65"/>
    <p:sldLayoutId id="2147486562" r:id="rId66"/>
    <p:sldLayoutId id="2147486563" r:id="rId67"/>
    <p:sldLayoutId id="2147486564" r:id="rId68"/>
    <p:sldLayoutId id="2147486565" r:id="rId69"/>
    <p:sldLayoutId id="2147486566" r:id="rId70"/>
    <p:sldLayoutId id="2147486567" r:id="rId71"/>
    <p:sldLayoutId id="2147486568" r:id="rId72"/>
    <p:sldLayoutId id="2147486569" r:id="rId73"/>
    <p:sldLayoutId id="2147486570" r:id="rId74"/>
    <p:sldLayoutId id="2147486571" r:id="rId75"/>
    <p:sldLayoutId id="2147486572" r:id="rId76"/>
    <p:sldLayoutId id="2147486573" r:id="rId77"/>
    <p:sldLayoutId id="2147486574" r:id="rId78"/>
    <p:sldLayoutId id="2147486575" r:id="rId79"/>
    <p:sldLayoutId id="2147486576" r:id="rId80"/>
    <p:sldLayoutId id="2147486577" r:id="rId81"/>
    <p:sldLayoutId id="2147486578" r:id="rId82"/>
    <p:sldLayoutId id="2147486579" r:id="rId83"/>
    <p:sldLayoutId id="2147486580" r:id="rId84"/>
    <p:sldLayoutId id="2147486581" r:id="rId85"/>
    <p:sldLayoutId id="2147486582" r:id="rId86"/>
    <p:sldLayoutId id="2147486583" r:id="rId87"/>
    <p:sldLayoutId id="2147486584" r:id="rId88"/>
    <p:sldLayoutId id="2147486585" r:id="rId89"/>
    <p:sldLayoutId id="2147486586" r:id="rId90"/>
    <p:sldLayoutId id="2147486587" r:id="rId91"/>
    <p:sldLayoutId id="2147486588" r:id="rId92"/>
    <p:sldLayoutId id="2147486589" r:id="rId93"/>
    <p:sldLayoutId id="2147486590" r:id="rId94"/>
    <p:sldLayoutId id="2147486591" r:id="rId95"/>
    <p:sldLayoutId id="2147486592" r:id="rId96"/>
    <p:sldLayoutId id="2147486593" r:id="rId97"/>
    <p:sldLayoutId id="2147486594" r:id="rId98"/>
    <p:sldLayoutId id="2147486595" r:id="rId99"/>
    <p:sldLayoutId id="2147486596" r:id="rId100"/>
    <p:sldLayoutId id="2147486597" r:id="rId101"/>
    <p:sldLayoutId id="2147486598" r:id="rId102"/>
    <p:sldLayoutId id="2147486599" r:id="rId103"/>
    <p:sldLayoutId id="2147486600" r:id="rId104"/>
    <p:sldLayoutId id="2147486601" r:id="rId105"/>
    <p:sldLayoutId id="2147486602" r:id="rId106"/>
    <p:sldLayoutId id="2147486603" r:id="rId107"/>
    <p:sldLayoutId id="2147486604" r:id="rId108"/>
    <p:sldLayoutId id="2147486605" r:id="rId109"/>
    <p:sldLayoutId id="2147486606" r:id="rId110"/>
    <p:sldLayoutId id="2147486607" r:id="rId111"/>
    <p:sldLayoutId id="2147486608" r:id="rId112"/>
    <p:sldLayoutId id="2147486609" r:id="rId113"/>
    <p:sldLayoutId id="2147486610" r:id="rId114"/>
    <p:sldLayoutId id="2147486611" r:id="rId115"/>
    <p:sldLayoutId id="2147486612" r:id="rId116"/>
    <p:sldLayoutId id="2147486613" r:id="rId117"/>
    <p:sldLayoutId id="2147486614" r:id="rId118"/>
    <p:sldLayoutId id="2147486615" r:id="rId119"/>
    <p:sldLayoutId id="2147486616" r:id="rId120"/>
    <p:sldLayoutId id="2147486617" r:id="rId121"/>
    <p:sldLayoutId id="2147486618" r:id="rId122"/>
    <p:sldLayoutId id="2147486619" r:id="rId123"/>
    <p:sldLayoutId id="2147486620" r:id="rId124"/>
    <p:sldLayoutId id="2147486621" r:id="rId125"/>
    <p:sldLayoutId id="2147486622" r:id="rId126"/>
    <p:sldLayoutId id="2147486623" r:id="rId127"/>
    <p:sldLayoutId id="2147486624" r:id="rId128"/>
    <p:sldLayoutId id="2147486625" r:id="rId129"/>
    <p:sldLayoutId id="2147486626" r:id="rId130"/>
    <p:sldLayoutId id="2147486627" r:id="rId131"/>
    <p:sldLayoutId id="2147486628" r:id="rId132"/>
    <p:sldLayoutId id="2147486629" r:id="rId133"/>
    <p:sldLayoutId id="2147486630" r:id="rId134"/>
    <p:sldLayoutId id="2147486631" r:id="rId135"/>
    <p:sldLayoutId id="2147486632" r:id="rId136"/>
    <p:sldLayoutId id="2147486633" r:id="rId137"/>
    <p:sldLayoutId id="2147486634" r:id="rId138"/>
    <p:sldLayoutId id="2147486635" r:id="rId139"/>
    <p:sldLayoutId id="2147486636" r:id="rId140"/>
    <p:sldLayoutId id="2147486637" r:id="rId141"/>
    <p:sldLayoutId id="2147486638" r:id="rId142"/>
    <p:sldLayoutId id="2147486639" r:id="rId143"/>
    <p:sldLayoutId id="2147486640" r:id="rId144"/>
    <p:sldLayoutId id="2147486641" r:id="rId145"/>
    <p:sldLayoutId id="2147486642" r:id="rId146"/>
    <p:sldLayoutId id="2147486643" r:id="rId147"/>
    <p:sldLayoutId id="2147486644" r:id="rId148"/>
    <p:sldLayoutId id="2147486645" r:id="rId149"/>
    <p:sldLayoutId id="2147486646" r:id="rId150"/>
    <p:sldLayoutId id="2147486647" r:id="rId151"/>
    <p:sldLayoutId id="2147486648" r:id="rId152"/>
    <p:sldLayoutId id="2147486649" r:id="rId153"/>
    <p:sldLayoutId id="2147486650" r:id="rId154"/>
    <p:sldLayoutId id="2147486651" r:id="rId155"/>
    <p:sldLayoutId id="2147486652" r:id="rId156"/>
    <p:sldLayoutId id="2147486653" r:id="rId157"/>
    <p:sldLayoutId id="2147486654" r:id="rId158"/>
    <p:sldLayoutId id="2147486655" r:id="rId159"/>
    <p:sldLayoutId id="2147486656" r:id="rId160"/>
    <p:sldLayoutId id="2147486657" r:id="rId161"/>
    <p:sldLayoutId id="2147486658" r:id="rId162"/>
    <p:sldLayoutId id="2147486659" r:id="rId163"/>
    <p:sldLayoutId id="2147486660" r:id="rId164"/>
    <p:sldLayoutId id="2147486661" r:id="rId165"/>
    <p:sldLayoutId id="2147486662" r:id="rId166"/>
    <p:sldLayoutId id="2147486663" r:id="rId167"/>
    <p:sldLayoutId id="2147486664" r:id="rId168"/>
    <p:sldLayoutId id="2147486665" r:id="rId169"/>
    <p:sldLayoutId id="2147486666" r:id="rId170"/>
    <p:sldLayoutId id="2147486667" r:id="rId171"/>
    <p:sldLayoutId id="2147486668" r:id="rId172"/>
    <p:sldLayoutId id="2147486669" r:id="rId173"/>
    <p:sldLayoutId id="2147486670" r:id="rId174"/>
    <p:sldLayoutId id="2147486671" r:id="rId175"/>
    <p:sldLayoutId id="2147486672" r:id="rId176"/>
    <p:sldLayoutId id="2147486673" r:id="rId177"/>
    <p:sldLayoutId id="2147486674" r:id="rId178"/>
    <p:sldLayoutId id="2147486675" r:id="rId179"/>
    <p:sldLayoutId id="2147486676" r:id="rId180"/>
    <p:sldLayoutId id="2147486677" r:id="rId181"/>
    <p:sldLayoutId id="2147486678" r:id="rId182"/>
    <p:sldLayoutId id="2147486679" r:id="rId183"/>
    <p:sldLayoutId id="2147486680" r:id="rId184"/>
    <p:sldLayoutId id="2147486681" r:id="rId185"/>
    <p:sldLayoutId id="2147486682" r:id="rId186"/>
    <p:sldLayoutId id="2147486683" r:id="rId187"/>
    <p:sldLayoutId id="2147486684" r:id="rId188"/>
    <p:sldLayoutId id="2147486685" r:id="rId189"/>
    <p:sldLayoutId id="2147486686" r:id="rId190"/>
    <p:sldLayoutId id="2147486687" r:id="rId191"/>
    <p:sldLayoutId id="2147486688" r:id="rId192"/>
    <p:sldLayoutId id="2147486689" r:id="rId193"/>
    <p:sldLayoutId id="2147486690" r:id="rId194"/>
    <p:sldLayoutId id="2147486691" r:id="rId195"/>
    <p:sldLayoutId id="2147486692" r:id="rId196"/>
    <p:sldLayoutId id="2147486693" r:id="rId197"/>
    <p:sldLayoutId id="2147486694" r:id="rId198"/>
    <p:sldLayoutId id="2147486695" r:id="rId199"/>
    <p:sldLayoutId id="2147486696" r:id="rId200"/>
    <p:sldLayoutId id="2147486697" r:id="rId201"/>
    <p:sldLayoutId id="2147486698" r:id="rId202"/>
    <p:sldLayoutId id="2147486699" r:id="rId203"/>
    <p:sldLayoutId id="2147486700" r:id="rId204"/>
    <p:sldLayoutId id="2147486701" r:id="rId205"/>
    <p:sldLayoutId id="2147486702" r:id="rId206"/>
    <p:sldLayoutId id="2147486703" r:id="rId207"/>
    <p:sldLayoutId id="2147486704" r:id="rId208"/>
    <p:sldLayoutId id="2147486705" r:id="rId209"/>
    <p:sldLayoutId id="2147486706" r:id="rId210"/>
    <p:sldLayoutId id="2147486707" r:id="rId211"/>
    <p:sldLayoutId id="2147486708" r:id="rId212"/>
    <p:sldLayoutId id="2147486709" r:id="rId213"/>
    <p:sldLayoutId id="2147486710" r:id="rId214"/>
    <p:sldLayoutId id="2147486711" r:id="rId215"/>
    <p:sldLayoutId id="2147486712" r:id="rId216"/>
    <p:sldLayoutId id="2147486713" r:id="rId217"/>
    <p:sldLayoutId id="2147486714" r:id="rId218"/>
    <p:sldLayoutId id="2147486715" r:id="rId219"/>
    <p:sldLayoutId id="2147486716" r:id="rId220"/>
    <p:sldLayoutId id="2147486717" r:id="rId221"/>
    <p:sldLayoutId id="2147486718" r:id="rId222"/>
    <p:sldLayoutId id="2147486719" r:id="rId223"/>
    <p:sldLayoutId id="2147486720" r:id="rId224"/>
    <p:sldLayoutId id="2147486721" r:id="rId225"/>
    <p:sldLayoutId id="2147486722" r:id="rId226"/>
    <p:sldLayoutId id="2147486723" r:id="rId227"/>
    <p:sldLayoutId id="2147486724" r:id="rId228"/>
    <p:sldLayoutId id="2147486725" r:id="rId229"/>
    <p:sldLayoutId id="2147486726" r:id="rId230"/>
    <p:sldLayoutId id="2147486727" r:id="rId231"/>
    <p:sldLayoutId id="2147486728" r:id="rId232"/>
    <p:sldLayoutId id="2147486729" r:id="rId233"/>
    <p:sldLayoutId id="2147486730" r:id="rId234"/>
    <p:sldLayoutId id="2147486731" r:id="rId235"/>
    <p:sldLayoutId id="2147486732" r:id="rId236"/>
    <p:sldLayoutId id="2147486733" r:id="rId237"/>
    <p:sldLayoutId id="2147486734" r:id="rId238"/>
    <p:sldLayoutId id="2147486735" r:id="rId239"/>
    <p:sldLayoutId id="2147486736" r:id="rId240"/>
    <p:sldLayoutId id="2147486737" r:id="rId241"/>
    <p:sldLayoutId id="2147486738" r:id="rId242"/>
    <p:sldLayoutId id="2147486739" r:id="rId243"/>
    <p:sldLayoutId id="2147486740" r:id="rId244"/>
    <p:sldLayoutId id="2147486741" r:id="rId245"/>
    <p:sldLayoutId id="2147486742" r:id="rId246"/>
    <p:sldLayoutId id="2147486743" r:id="rId247"/>
    <p:sldLayoutId id="2147486744" r:id="rId248"/>
    <p:sldLayoutId id="2147486745" r:id="rId249"/>
    <p:sldLayoutId id="2147486746" r:id="rId250"/>
    <p:sldLayoutId id="2147486747" r:id="rId251"/>
    <p:sldLayoutId id="2147486748" r:id="rId252"/>
    <p:sldLayoutId id="2147486749" r:id="rId253"/>
    <p:sldLayoutId id="2147486750" r:id="rId254"/>
    <p:sldLayoutId id="2147486751" r:id="rId255"/>
    <p:sldLayoutId id="2147486752" r:id="rId256"/>
    <p:sldLayoutId id="2147486753" r:id="rId257"/>
    <p:sldLayoutId id="2147486754" r:id="rId258"/>
    <p:sldLayoutId id="2147486755" r:id="rId259"/>
    <p:sldLayoutId id="2147486756" r:id="rId260"/>
    <p:sldLayoutId id="2147486757" r:id="rId261"/>
    <p:sldLayoutId id="2147486758" r:id="rId262"/>
    <p:sldLayoutId id="2147486759" r:id="rId263"/>
    <p:sldLayoutId id="2147486760" r:id="rId264"/>
    <p:sldLayoutId id="2147486761" r:id="rId265"/>
    <p:sldLayoutId id="2147486762" r:id="rId266"/>
    <p:sldLayoutId id="2147486763" r:id="rId267"/>
    <p:sldLayoutId id="2147486764" r:id="rId268"/>
    <p:sldLayoutId id="2147486765" r:id="rId269"/>
    <p:sldLayoutId id="2147486766" r:id="rId270"/>
    <p:sldLayoutId id="2147486767" r:id="rId271"/>
    <p:sldLayoutId id="2147486768" r:id="rId272"/>
    <p:sldLayoutId id="2147486769" r:id="rId273"/>
    <p:sldLayoutId id="2147486770" r:id="rId274"/>
    <p:sldLayoutId id="2147486771" r:id="rId275"/>
    <p:sldLayoutId id="2147486772" r:id="rId276"/>
    <p:sldLayoutId id="2147486773" r:id="rId277"/>
    <p:sldLayoutId id="2147486774" r:id="rId278"/>
    <p:sldLayoutId id="2147486775" r:id="rId279"/>
    <p:sldLayoutId id="2147486776" r:id="rId280"/>
    <p:sldLayoutId id="2147486777" r:id="rId281"/>
    <p:sldLayoutId id="2147486778" r:id="rId282"/>
    <p:sldLayoutId id="2147486779" r:id="rId283"/>
    <p:sldLayoutId id="2147486780" r:id="rId284"/>
    <p:sldLayoutId id="2147486781" r:id="rId285"/>
    <p:sldLayoutId id="2147486782" r:id="rId286"/>
    <p:sldLayoutId id="2147486783" r:id="rId287"/>
    <p:sldLayoutId id="2147486784" r:id="rId288"/>
    <p:sldLayoutId id="2147486785" r:id="rId289"/>
    <p:sldLayoutId id="2147486786" r:id="rId290"/>
    <p:sldLayoutId id="2147486787" r:id="rId291"/>
    <p:sldLayoutId id="2147486788" r:id="rId292"/>
    <p:sldLayoutId id="2147486789" r:id="rId293"/>
    <p:sldLayoutId id="2147486790" r:id="rId294"/>
    <p:sldLayoutId id="2147486791" r:id="rId295"/>
    <p:sldLayoutId id="2147486792" r:id="rId296"/>
    <p:sldLayoutId id="2147486793" r:id="rId297"/>
    <p:sldLayoutId id="2147486794" r:id="rId298"/>
    <p:sldLayoutId id="2147486795" r:id="rId29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000" kern="1200">
          <a:solidFill>
            <a:srgbClr val="005AAA"/>
          </a:solidFill>
          <a:latin typeface="+mj-lt"/>
          <a:ea typeface="+mj-ea"/>
          <a:cs typeface="+mj-cs"/>
        </a:defRPr>
      </a:lvl1pPr>
    </p:titleStyle>
    <p:bodyStyle>
      <a:lvl1pPr marL="3429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95959"/>
          </a:solidFill>
          <a:latin typeface="+mn-lt"/>
          <a:ea typeface="+mn-ea"/>
          <a:cs typeface="+mn-cs"/>
        </a:defRPr>
      </a:lvl1pPr>
      <a:lvl2pPr marL="74295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595959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595959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595959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595959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83.xml"/><Relationship Id="rId7" Type="http://schemas.openxmlformats.org/officeDocument/2006/relationships/image" Target="../media/image1.emf"/><Relationship Id="rId2" Type="http://schemas.openxmlformats.org/officeDocument/2006/relationships/tags" Target="../tags/tag582.xml"/><Relationship Id="rId1" Type="http://schemas.openxmlformats.org/officeDocument/2006/relationships/vmlDrawing" Target="../drawings/vmlDrawing581.vml"/><Relationship Id="rId6" Type="http://schemas.openxmlformats.org/officeDocument/2006/relationships/oleObject" Target="../embeddings/oleObject58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2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590.xml"/><Relationship Id="rId13" Type="http://schemas.openxmlformats.org/officeDocument/2006/relationships/tags" Target="../tags/tag595.xml"/><Relationship Id="rId18" Type="http://schemas.openxmlformats.org/officeDocument/2006/relationships/image" Target="../media/image25.emf"/><Relationship Id="rId3" Type="http://schemas.openxmlformats.org/officeDocument/2006/relationships/tags" Target="../tags/tag585.xml"/><Relationship Id="rId7" Type="http://schemas.openxmlformats.org/officeDocument/2006/relationships/tags" Target="../tags/tag589.xml"/><Relationship Id="rId12" Type="http://schemas.openxmlformats.org/officeDocument/2006/relationships/tags" Target="../tags/tag594.xml"/><Relationship Id="rId17" Type="http://schemas.openxmlformats.org/officeDocument/2006/relationships/oleObject" Target="../embeddings/oleObject582.bin"/><Relationship Id="rId2" Type="http://schemas.openxmlformats.org/officeDocument/2006/relationships/tags" Target="../tags/tag584.xml"/><Relationship Id="rId16" Type="http://schemas.openxmlformats.org/officeDocument/2006/relationships/notesSlide" Target="../notesSlides/notesSlide2.xml"/><Relationship Id="rId1" Type="http://schemas.openxmlformats.org/officeDocument/2006/relationships/vmlDrawing" Target="../drawings/vmlDrawing582.vml"/><Relationship Id="rId6" Type="http://schemas.openxmlformats.org/officeDocument/2006/relationships/tags" Target="../tags/tag588.xml"/><Relationship Id="rId11" Type="http://schemas.openxmlformats.org/officeDocument/2006/relationships/tags" Target="../tags/tag593.xml"/><Relationship Id="rId5" Type="http://schemas.openxmlformats.org/officeDocument/2006/relationships/tags" Target="../tags/tag587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592.xml"/><Relationship Id="rId4" Type="http://schemas.openxmlformats.org/officeDocument/2006/relationships/tags" Target="../tags/tag586.xml"/><Relationship Id="rId9" Type="http://schemas.openxmlformats.org/officeDocument/2006/relationships/tags" Target="../tags/tag591.xml"/><Relationship Id="rId14" Type="http://schemas.openxmlformats.org/officeDocument/2006/relationships/tags" Target="../tags/tag59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98.xml"/><Relationship Id="rId7" Type="http://schemas.openxmlformats.org/officeDocument/2006/relationships/image" Target="../media/image1.emf"/><Relationship Id="rId2" Type="http://schemas.openxmlformats.org/officeDocument/2006/relationships/tags" Target="../tags/tag597.xml"/><Relationship Id="rId1" Type="http://schemas.openxmlformats.org/officeDocument/2006/relationships/vmlDrawing" Target="../drawings/vmlDrawing583.vml"/><Relationship Id="rId6" Type="http://schemas.openxmlformats.org/officeDocument/2006/relationships/oleObject" Target="../embeddings/oleObject58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00.xml"/><Relationship Id="rId7" Type="http://schemas.openxmlformats.org/officeDocument/2006/relationships/oleObject" Target="../embeddings/oleObject584.bin"/><Relationship Id="rId2" Type="http://schemas.openxmlformats.org/officeDocument/2006/relationships/tags" Target="../tags/tag599.xml"/><Relationship Id="rId1" Type="http://schemas.openxmlformats.org/officeDocument/2006/relationships/vmlDrawing" Target="../drawings/vmlDrawing584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60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03.xml"/><Relationship Id="rId7" Type="http://schemas.openxmlformats.org/officeDocument/2006/relationships/image" Target="../media/image5.emf"/><Relationship Id="rId2" Type="http://schemas.openxmlformats.org/officeDocument/2006/relationships/tags" Target="../tags/tag602.xml"/><Relationship Id="rId1" Type="http://schemas.openxmlformats.org/officeDocument/2006/relationships/vmlDrawing" Target="../drawings/vmlDrawing585.vml"/><Relationship Id="rId6" Type="http://schemas.openxmlformats.org/officeDocument/2006/relationships/oleObject" Target="../embeddings/oleObject58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wmf"/><Relationship Id="rId13" Type="http://schemas.openxmlformats.org/officeDocument/2006/relationships/image" Target="../media/image30.png"/><Relationship Id="rId3" Type="http://schemas.openxmlformats.org/officeDocument/2006/relationships/tags" Target="../tags/tag605.xml"/><Relationship Id="rId7" Type="http://schemas.openxmlformats.org/officeDocument/2006/relationships/image" Target="../media/image5.emf"/><Relationship Id="rId12" Type="http://schemas.microsoft.com/office/2007/relationships/hdphoto" Target="../media/hdphoto6.wdp"/><Relationship Id="rId2" Type="http://schemas.openxmlformats.org/officeDocument/2006/relationships/tags" Target="../tags/tag604.xml"/><Relationship Id="rId1" Type="http://schemas.openxmlformats.org/officeDocument/2006/relationships/vmlDrawing" Target="../drawings/vmlDrawing586.vml"/><Relationship Id="rId6" Type="http://schemas.openxmlformats.org/officeDocument/2006/relationships/oleObject" Target="../embeddings/oleObject586.bin"/><Relationship Id="rId11" Type="http://schemas.openxmlformats.org/officeDocument/2006/relationships/image" Target="../media/image29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8.wmf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7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06.xml"/><Relationship Id="rId1" Type="http://schemas.openxmlformats.org/officeDocument/2006/relationships/vmlDrawing" Target="../drawings/vmlDrawing58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87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2959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62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400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472" y="2765309"/>
            <a:ext cx="7772400" cy="816091"/>
          </a:xfrm>
        </p:spPr>
        <p:txBody>
          <a:bodyPr/>
          <a:lstStyle/>
          <a:p>
            <a:r>
              <a:rPr lang="en-US" dirty="0" smtClean="0"/>
              <a:t>Steering Committee Rol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7472" y="3950938"/>
            <a:ext cx="8872728" cy="719639"/>
          </a:xfrm>
        </p:spPr>
        <p:txBody>
          <a:bodyPr/>
          <a:lstStyle/>
          <a:p>
            <a:r>
              <a:rPr lang="en-US" dirty="0" smtClean="0"/>
              <a:t>Prepared For: Nebraska children &amp; families Found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705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Object 11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42411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85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dirty="0">
              <a:latin typeface="Arial"/>
              <a:ea typeface="+mj-ea"/>
              <a:cs typeface="+mj-cs"/>
              <a:sym typeface="Arial"/>
            </a:endParaRPr>
          </a:p>
        </p:txBody>
      </p:sp>
      <p:cxnSp>
        <p:nvCxnSpPr>
          <p:cNvPr id="105" name="Straight Connector 104"/>
          <p:cNvCxnSpPr/>
          <p:nvPr/>
        </p:nvCxnSpPr>
        <p:spPr>
          <a:xfrm flipV="1">
            <a:off x="3505206" y="3112446"/>
            <a:ext cx="2128" cy="606679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/>
          <p:nvPr/>
        </p:nvCxnSpPr>
        <p:spPr>
          <a:xfrm flipV="1">
            <a:off x="2533210" y="2819302"/>
            <a:ext cx="0" cy="899824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 flipV="1">
            <a:off x="1540553" y="3112446"/>
            <a:ext cx="2128" cy="606679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1542681" y="3112446"/>
            <a:ext cx="1965717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llective impact engages multiple stakeholders and draws on a range of community asse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ource: FSG Interviews and </a:t>
            </a:r>
            <a:r>
              <a:rPr lang="en-US" dirty="0" smtClean="0"/>
              <a:t>Analysis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450128" y="2069014"/>
            <a:ext cx="524479" cy="3950785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rtlCol="0" anchor="ctr"/>
          <a:lstStyle/>
          <a:p>
            <a:pPr algn="ctr"/>
            <a:r>
              <a:rPr lang="en-US" sz="1400" b="1" i="1" dirty="0" smtClean="0">
                <a:solidFill>
                  <a:srgbClr val="000000"/>
                </a:solidFill>
              </a:rPr>
              <a:t>B</a:t>
            </a:r>
          </a:p>
          <a:p>
            <a:pPr algn="ctr"/>
            <a:endParaRPr lang="en-US" sz="1400" b="1" i="1" dirty="0" smtClean="0">
              <a:solidFill>
                <a:srgbClr val="000000"/>
              </a:solidFill>
            </a:endParaRPr>
          </a:p>
          <a:p>
            <a:pPr algn="ctr"/>
            <a:r>
              <a:rPr lang="en-US" sz="1400" b="1" i="1" dirty="0" smtClean="0">
                <a:solidFill>
                  <a:srgbClr val="000000"/>
                </a:solidFill>
              </a:rPr>
              <a:t>A</a:t>
            </a:r>
          </a:p>
          <a:p>
            <a:pPr algn="ctr"/>
            <a:endParaRPr lang="en-US" sz="1400" b="1" i="1" dirty="0" smtClean="0">
              <a:solidFill>
                <a:srgbClr val="000000"/>
              </a:solidFill>
            </a:endParaRPr>
          </a:p>
          <a:p>
            <a:pPr algn="ctr"/>
            <a:r>
              <a:rPr lang="en-US" sz="1400" b="1" i="1" dirty="0" smtClean="0">
                <a:solidFill>
                  <a:srgbClr val="000000"/>
                </a:solidFill>
              </a:rPr>
              <a:t>C</a:t>
            </a:r>
          </a:p>
          <a:p>
            <a:pPr algn="ctr"/>
            <a:endParaRPr lang="en-US" sz="1400" b="1" i="1" dirty="0" smtClean="0">
              <a:solidFill>
                <a:srgbClr val="000000"/>
              </a:solidFill>
            </a:endParaRPr>
          </a:p>
          <a:p>
            <a:pPr algn="ctr"/>
            <a:r>
              <a:rPr lang="en-US" sz="1400" b="1" i="1" dirty="0" smtClean="0">
                <a:solidFill>
                  <a:srgbClr val="000000"/>
                </a:solidFill>
              </a:rPr>
              <a:t>K</a:t>
            </a:r>
          </a:p>
          <a:p>
            <a:pPr algn="ctr"/>
            <a:endParaRPr lang="en-US" sz="1400" b="1" i="1" dirty="0" smtClean="0">
              <a:solidFill>
                <a:srgbClr val="000000"/>
              </a:solidFill>
            </a:endParaRPr>
          </a:p>
          <a:p>
            <a:pPr algn="ctr"/>
            <a:r>
              <a:rPr lang="en-US" sz="1400" b="1" i="1" dirty="0" smtClean="0">
                <a:solidFill>
                  <a:srgbClr val="000000"/>
                </a:solidFill>
              </a:rPr>
              <a:t>B</a:t>
            </a:r>
          </a:p>
          <a:p>
            <a:pPr algn="ctr"/>
            <a:endParaRPr lang="en-US" sz="1400" b="1" i="1" dirty="0" smtClean="0">
              <a:solidFill>
                <a:srgbClr val="000000"/>
              </a:solidFill>
            </a:endParaRPr>
          </a:p>
          <a:p>
            <a:pPr algn="ctr"/>
            <a:r>
              <a:rPr lang="en-US" sz="1400" b="1" i="1" dirty="0" smtClean="0">
                <a:solidFill>
                  <a:srgbClr val="000000"/>
                </a:solidFill>
              </a:rPr>
              <a:t>O</a:t>
            </a:r>
          </a:p>
          <a:p>
            <a:pPr algn="ctr"/>
            <a:endParaRPr lang="en-US" sz="1400" b="1" i="1" dirty="0" smtClean="0">
              <a:solidFill>
                <a:srgbClr val="000000"/>
              </a:solidFill>
            </a:endParaRPr>
          </a:p>
          <a:p>
            <a:pPr algn="ctr"/>
            <a:r>
              <a:rPr lang="en-US" sz="1400" b="1" i="1" dirty="0" smtClean="0">
                <a:solidFill>
                  <a:srgbClr val="000000"/>
                </a:solidFill>
              </a:rPr>
              <a:t>N</a:t>
            </a:r>
          </a:p>
          <a:p>
            <a:pPr algn="ctr"/>
            <a:endParaRPr lang="en-US" sz="1400" b="1" i="1" dirty="0" smtClean="0">
              <a:solidFill>
                <a:srgbClr val="000000"/>
              </a:solidFill>
            </a:endParaRPr>
          </a:p>
          <a:p>
            <a:pPr algn="ctr"/>
            <a:r>
              <a:rPr lang="en-US" sz="1400" b="1" i="1" dirty="0" smtClean="0">
                <a:solidFill>
                  <a:srgbClr val="000000"/>
                </a:solidFill>
              </a:rPr>
              <a:t>E</a:t>
            </a:r>
          </a:p>
          <a:p>
            <a:pPr algn="ctr"/>
            <a:endParaRPr lang="en-US" sz="1200" b="1" i="1" dirty="0">
              <a:solidFill>
                <a:srgbClr val="000000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180233" y="2069014"/>
            <a:ext cx="2718846" cy="81046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b="1" i="1" dirty="0" smtClean="0">
                <a:solidFill>
                  <a:srgbClr val="000000"/>
                </a:solidFill>
              </a:rPr>
              <a:t>Steering Committee</a:t>
            </a:r>
          </a:p>
        </p:txBody>
      </p:sp>
      <p:grpSp>
        <p:nvGrpSpPr>
          <p:cNvPr id="53" name="Group 52"/>
          <p:cNvGrpSpPr/>
          <p:nvPr/>
        </p:nvGrpSpPr>
        <p:grpSpPr>
          <a:xfrm>
            <a:off x="1115580" y="5558944"/>
            <a:ext cx="3053518" cy="460856"/>
            <a:chOff x="1115580" y="4184082"/>
            <a:chExt cx="3053518" cy="460856"/>
          </a:xfrm>
        </p:grpSpPr>
        <p:sp>
          <p:nvSpPr>
            <p:cNvPr id="55" name="Rounded Rectangle 54"/>
            <p:cNvSpPr/>
            <p:nvPr>
              <p:custDataLst>
                <p:tags r:id="rId5"/>
              </p:custDataLst>
            </p:nvPr>
          </p:nvSpPr>
          <p:spPr>
            <a:xfrm>
              <a:off x="1434989" y="4184082"/>
              <a:ext cx="178837" cy="460856"/>
            </a:xfrm>
            <a:prstGeom prst="roundRect">
              <a:avLst/>
            </a:prstGeom>
            <a:solidFill>
              <a:srgbClr val="D9EFFF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6" name="Rounded Rectangle 55"/>
            <p:cNvSpPr/>
            <p:nvPr>
              <p:custDataLst>
                <p:tags r:id="rId6"/>
              </p:custDataLst>
            </p:nvPr>
          </p:nvSpPr>
          <p:spPr>
            <a:xfrm>
              <a:off x="1754398" y="4184082"/>
              <a:ext cx="178837" cy="460856"/>
            </a:xfrm>
            <a:prstGeom prst="roundRect">
              <a:avLst/>
            </a:prstGeom>
            <a:solidFill>
              <a:srgbClr val="FFDDEA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7" name="Rounded Rectangle 56"/>
            <p:cNvSpPr/>
            <p:nvPr>
              <p:custDataLst>
                <p:tags r:id="rId7"/>
              </p:custDataLst>
            </p:nvPr>
          </p:nvSpPr>
          <p:spPr>
            <a:xfrm>
              <a:off x="2073807" y="4184082"/>
              <a:ext cx="178837" cy="4608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8" name="Rounded Rectangle 57"/>
            <p:cNvSpPr/>
            <p:nvPr>
              <p:custDataLst>
                <p:tags r:id="rId8"/>
              </p:custDataLst>
            </p:nvPr>
          </p:nvSpPr>
          <p:spPr>
            <a:xfrm>
              <a:off x="2393216" y="4184082"/>
              <a:ext cx="178837" cy="460856"/>
            </a:xfrm>
            <a:prstGeom prst="roundRect">
              <a:avLst/>
            </a:prstGeom>
            <a:solidFill>
              <a:srgbClr val="D9EFFF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9" name="Rounded Rectangle 58"/>
            <p:cNvSpPr/>
            <p:nvPr>
              <p:custDataLst>
                <p:tags r:id="rId9"/>
              </p:custDataLst>
            </p:nvPr>
          </p:nvSpPr>
          <p:spPr>
            <a:xfrm>
              <a:off x="2712625" y="4184082"/>
              <a:ext cx="178837" cy="460856"/>
            </a:xfrm>
            <a:prstGeom prst="roundRect">
              <a:avLst/>
            </a:prstGeom>
            <a:solidFill>
              <a:srgbClr val="FFDDEA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0" name="Rounded Rectangle 59"/>
            <p:cNvSpPr/>
            <p:nvPr>
              <p:custDataLst>
                <p:tags r:id="rId10"/>
              </p:custDataLst>
            </p:nvPr>
          </p:nvSpPr>
          <p:spPr>
            <a:xfrm>
              <a:off x="3032034" y="4184082"/>
              <a:ext cx="178837" cy="4608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1" name="Rounded Rectangle 60"/>
            <p:cNvSpPr/>
            <p:nvPr>
              <p:custDataLst>
                <p:tags r:id="rId11"/>
              </p:custDataLst>
            </p:nvPr>
          </p:nvSpPr>
          <p:spPr>
            <a:xfrm>
              <a:off x="3351443" y="4184082"/>
              <a:ext cx="178837" cy="460856"/>
            </a:xfrm>
            <a:prstGeom prst="roundRect">
              <a:avLst/>
            </a:prstGeom>
            <a:solidFill>
              <a:srgbClr val="D9EFFF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2" name="Rounded Rectangle 61"/>
            <p:cNvSpPr/>
            <p:nvPr>
              <p:custDataLst>
                <p:tags r:id="rId12"/>
              </p:custDataLst>
            </p:nvPr>
          </p:nvSpPr>
          <p:spPr>
            <a:xfrm>
              <a:off x="3670852" y="4184082"/>
              <a:ext cx="178837" cy="460856"/>
            </a:xfrm>
            <a:prstGeom prst="roundRect">
              <a:avLst/>
            </a:prstGeom>
            <a:solidFill>
              <a:srgbClr val="FFDDEA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3" name="Rounded Rectangle 62"/>
            <p:cNvSpPr/>
            <p:nvPr>
              <p:custDataLst>
                <p:tags r:id="rId13"/>
              </p:custDataLst>
            </p:nvPr>
          </p:nvSpPr>
          <p:spPr>
            <a:xfrm>
              <a:off x="3990261" y="4184082"/>
              <a:ext cx="178837" cy="4608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8" name="Rounded Rectangle 67"/>
            <p:cNvSpPr/>
            <p:nvPr>
              <p:custDataLst>
                <p:tags r:id="rId14"/>
              </p:custDataLst>
            </p:nvPr>
          </p:nvSpPr>
          <p:spPr>
            <a:xfrm>
              <a:off x="1115580" y="4184082"/>
              <a:ext cx="178837" cy="46085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t"/>
            <a:lstStyle/>
            <a:p>
              <a:endParaRPr lang="en-US" sz="1200" b="1" i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1150527" y="5181502"/>
            <a:ext cx="296427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i="1" dirty="0" smtClean="0">
                <a:solidFill>
                  <a:srgbClr val="000000"/>
                </a:solidFill>
                <a:latin typeface="Arial"/>
              </a:rPr>
              <a:t>Partners &amp; Community Members</a:t>
            </a:r>
            <a:endParaRPr lang="en-US" sz="1400" i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Rounded Rectangle 76"/>
          <p:cNvSpPr/>
          <p:nvPr/>
        </p:nvSpPr>
        <p:spPr>
          <a:xfrm>
            <a:off x="2103528" y="3417246"/>
            <a:ext cx="864105" cy="888097"/>
          </a:xfrm>
          <a:prstGeom prst="roundRect">
            <a:avLst/>
          </a:prstGeom>
          <a:solidFill>
            <a:srgbClr val="FFFFCC"/>
          </a:solidFill>
          <a:ln>
            <a:solidFill>
              <a:srgbClr val="FF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t"/>
          <a:lstStyle/>
          <a:p>
            <a:pPr algn="ctr"/>
            <a:endParaRPr lang="en-US" sz="1200" i="1">
              <a:solidFill>
                <a:srgbClr val="000000"/>
              </a:solidFill>
            </a:endParaRPr>
          </a:p>
        </p:txBody>
      </p:sp>
      <p:sp>
        <p:nvSpPr>
          <p:cNvPr id="78" name="Rounded Rectangle 77"/>
          <p:cNvSpPr/>
          <p:nvPr/>
        </p:nvSpPr>
        <p:spPr>
          <a:xfrm>
            <a:off x="3113495" y="3429595"/>
            <a:ext cx="785550" cy="888097"/>
          </a:xfrm>
          <a:prstGeom prst="roundRect">
            <a:avLst/>
          </a:prstGeom>
          <a:solidFill>
            <a:srgbClr val="FFDDEA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t"/>
          <a:lstStyle/>
          <a:p>
            <a:pPr algn="ctr"/>
            <a:endParaRPr lang="en-US" sz="1200" i="1">
              <a:solidFill>
                <a:srgbClr val="000000"/>
              </a:solidFill>
            </a:endParaRPr>
          </a:p>
        </p:txBody>
      </p:sp>
      <p:sp>
        <p:nvSpPr>
          <p:cNvPr id="85" name="Rounded Rectangle 84"/>
          <p:cNvSpPr/>
          <p:nvPr/>
        </p:nvSpPr>
        <p:spPr>
          <a:xfrm>
            <a:off x="1109565" y="3417246"/>
            <a:ext cx="864105" cy="88809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t"/>
          <a:lstStyle/>
          <a:p>
            <a:endParaRPr lang="en-US" sz="1200" b="1" i="1" dirty="0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269116" y="3813516"/>
            <a:ext cx="2527295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>
            <a:spAutoFit/>
          </a:bodyPr>
          <a:lstStyle/>
          <a:p>
            <a:pPr algn="ctr"/>
            <a:r>
              <a:rPr lang="en-US" b="1" i="1" spc="300" dirty="0" smtClean="0">
                <a:solidFill>
                  <a:srgbClr val="000000"/>
                </a:solidFill>
                <a:latin typeface="Arial"/>
              </a:rPr>
              <a:t>Working Groups</a:t>
            </a:r>
            <a:endParaRPr lang="en-US" b="1" i="1" spc="3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393980" y="3442561"/>
            <a:ext cx="2952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A</a:t>
            </a:r>
            <a:endParaRPr lang="en-US" sz="14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2387943" y="3442561"/>
            <a:ext cx="2952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B</a:t>
            </a:r>
            <a:endParaRPr lang="en-US" sz="14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3358633" y="3442561"/>
            <a:ext cx="2952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C</a:t>
            </a:r>
            <a:endParaRPr lang="en-US" sz="14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4" name="Isosceles Triangle 113"/>
          <p:cNvSpPr/>
          <p:nvPr/>
        </p:nvSpPr>
        <p:spPr>
          <a:xfrm>
            <a:off x="1327571" y="4419502"/>
            <a:ext cx="2454365" cy="68580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15" name="Rounded Rectangle 114"/>
          <p:cNvSpPr/>
          <p:nvPr/>
        </p:nvSpPr>
        <p:spPr>
          <a:xfrm>
            <a:off x="283324" y="1676400"/>
            <a:ext cx="4110518" cy="4648200"/>
          </a:xfrm>
          <a:prstGeom prst="roundRect">
            <a:avLst>
              <a:gd name="adj" fmla="val 6589"/>
            </a:avLst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i="1" dirty="0">
              <a:solidFill>
                <a:srgbClr val="0094B3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1258801" y="1501535"/>
            <a:ext cx="215956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/>
              </a:rPr>
              <a:t>Sample Structure 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4724400" y="1676400"/>
            <a:ext cx="4110518" cy="4648200"/>
          </a:xfrm>
          <a:prstGeom prst="roundRect">
            <a:avLst>
              <a:gd name="adj" fmla="val 6589"/>
            </a:avLst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itchFamily="2" charset="2"/>
              <a:buChar char="v"/>
            </a:pPr>
            <a:endParaRPr lang="en-US" sz="1600" dirty="0" smtClean="0">
              <a:solidFill>
                <a:srgbClr val="000000"/>
              </a:solidFill>
            </a:endParaRPr>
          </a:p>
          <a:p>
            <a:r>
              <a:rPr lang="en-US" b="1" dirty="0" smtClean="0">
                <a:solidFill>
                  <a:srgbClr val="FAA755">
                    <a:lumMod val="75000"/>
                  </a:srgbClr>
                </a:solidFill>
              </a:rPr>
              <a:t>Steering Committee</a:t>
            </a:r>
            <a:endParaRPr lang="en-US" dirty="0" smtClean="0">
              <a:solidFill>
                <a:srgbClr val="000000"/>
              </a:solidFill>
            </a:endParaRPr>
          </a:p>
          <a:p>
            <a:pPr marL="398463" indent="-282575">
              <a:buFont typeface="Wingdings" pitchFamily="2" charset="2"/>
              <a:buChar char="q"/>
            </a:pPr>
            <a:r>
              <a:rPr lang="en-US" sz="1600" dirty="0" smtClean="0">
                <a:solidFill>
                  <a:srgbClr val="000000"/>
                </a:solidFill>
              </a:rPr>
              <a:t>Provide overall vision and leadership for the effort</a:t>
            </a:r>
          </a:p>
          <a:p>
            <a:endParaRPr lang="en-US" sz="1400" dirty="0">
              <a:solidFill>
                <a:srgbClr val="000000"/>
              </a:solidFill>
            </a:endParaRPr>
          </a:p>
          <a:p>
            <a:r>
              <a:rPr lang="en-US" b="1" dirty="0" smtClean="0">
                <a:solidFill>
                  <a:srgbClr val="A70240"/>
                </a:solidFill>
              </a:rPr>
              <a:t>Working Groups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</a:p>
          <a:p>
            <a:pPr marL="398463" indent="-282575">
              <a:buFont typeface="Wingdings" pitchFamily="2" charset="2"/>
              <a:buChar char="q"/>
            </a:pPr>
            <a:r>
              <a:rPr lang="en-US" sz="1600" dirty="0" smtClean="0">
                <a:solidFill>
                  <a:srgbClr val="000000"/>
                </a:solidFill>
              </a:rPr>
              <a:t>Lead implementation including indicator selection and strategy setting</a:t>
            </a:r>
          </a:p>
          <a:p>
            <a:endParaRPr lang="en-US" sz="1400" dirty="0" smtClean="0">
              <a:solidFill>
                <a:srgbClr val="000000"/>
              </a:solidFill>
            </a:endParaRPr>
          </a:p>
          <a:p>
            <a:r>
              <a:rPr lang="en-US" b="1" dirty="0" smtClean="0">
                <a:solidFill>
                  <a:srgbClr val="6A7F10">
                    <a:lumMod val="75000"/>
                  </a:srgbClr>
                </a:solidFill>
              </a:rPr>
              <a:t>Partners &amp; Community Members</a:t>
            </a:r>
            <a:r>
              <a:rPr lang="en-US" dirty="0" smtClean="0">
                <a:solidFill>
                  <a:srgbClr val="6A7F10">
                    <a:lumMod val="75000"/>
                  </a:srgbClr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  <a:p>
            <a:pPr marL="398463" indent="-282575">
              <a:buFont typeface="Wingdings" pitchFamily="2" charset="2"/>
              <a:buChar char="q"/>
            </a:pPr>
            <a:r>
              <a:rPr lang="en-US" sz="1600" dirty="0" smtClean="0">
                <a:solidFill>
                  <a:srgbClr val="000000"/>
                </a:solidFill>
              </a:rPr>
              <a:t>Collaborate on indicator selection, strategy setting, and implementation</a:t>
            </a:r>
          </a:p>
          <a:p>
            <a:endParaRPr lang="en-US" sz="1400" dirty="0" smtClean="0">
              <a:solidFill>
                <a:srgbClr val="000000"/>
              </a:solidFill>
            </a:endParaRPr>
          </a:p>
          <a:p>
            <a:r>
              <a:rPr lang="en-US" b="1" dirty="0" smtClean="0">
                <a:solidFill>
                  <a:srgbClr val="0064AD">
                    <a:lumMod val="75000"/>
                  </a:srgbClr>
                </a:solidFill>
              </a:rPr>
              <a:t>Backbone</a:t>
            </a:r>
            <a:r>
              <a:rPr lang="en-US" b="1" dirty="0" smtClean="0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  <a:p>
            <a:pPr marL="398463" indent="-282575">
              <a:buFont typeface="Wingdings" pitchFamily="2" charset="2"/>
              <a:buChar char="q"/>
            </a:pPr>
            <a:r>
              <a:rPr lang="en-US" sz="1600" dirty="0" smtClean="0">
                <a:solidFill>
                  <a:srgbClr val="000000"/>
                </a:solidFill>
              </a:rPr>
              <a:t>Serve as a neutral, coordinating entity that convenes stakeholders and manages activities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6129484" y="1501535"/>
            <a:ext cx="1300356" cy="4062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/>
              </a:rPr>
              <a:t>Key Ro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7716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8417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36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ering Committee members </a:t>
            </a:r>
            <a:r>
              <a:rPr lang="en-US" dirty="0" smtClean="0"/>
              <a:t>help </a:t>
            </a:r>
            <a:r>
              <a:rPr lang="en-US" dirty="0" smtClean="0"/>
              <a:t>provide strategic oversight for </a:t>
            </a:r>
            <a:r>
              <a:rPr lang="en-US" dirty="0" smtClean="0"/>
              <a:t>a collective impact initiativ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28600" y="1295400"/>
            <a:ext cx="4405242" cy="2882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spcAft>
                <a:spcPts val="600"/>
              </a:spcAft>
            </a:pPr>
            <a:r>
              <a:rPr lang="en-US" b="1" dirty="0">
                <a:solidFill>
                  <a:srgbClr val="0064AD">
                    <a:lumMod val="75000"/>
                  </a:srgbClr>
                </a:solidFill>
                <a:latin typeface="Arial"/>
                <a:cs typeface="Arial" pitchFamily="34" charset="0"/>
              </a:rPr>
              <a:t>Strategic </a:t>
            </a:r>
            <a:r>
              <a:rPr lang="en-US" b="1" dirty="0" smtClean="0">
                <a:solidFill>
                  <a:srgbClr val="0064AD">
                    <a:lumMod val="75000"/>
                  </a:srgbClr>
                </a:solidFill>
                <a:latin typeface="Arial"/>
                <a:cs typeface="Arial" pitchFamily="34" charset="0"/>
              </a:rPr>
              <a:t>Direction</a:t>
            </a:r>
          </a:p>
          <a:p>
            <a:pPr marL="0" lvl="1" algn="ctr">
              <a:spcAft>
                <a:spcPts val="600"/>
              </a:spcAft>
            </a:pPr>
            <a:endParaRPr lang="en-US" b="1" dirty="0">
              <a:solidFill>
                <a:srgbClr val="0064AD">
                  <a:lumMod val="75000"/>
                </a:srgbClr>
              </a:solidFill>
              <a:latin typeface="Arial"/>
            </a:endParaRPr>
          </a:p>
          <a:p>
            <a:pPr marL="285750" indent="-285750"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Provide </a:t>
            </a:r>
            <a:r>
              <a:rPr lang="en-US" sz="1600" b="1" dirty="0">
                <a:solidFill>
                  <a:srgbClr val="0064AD">
                    <a:lumMod val="75000"/>
                  </a:srgbClr>
                </a:solidFill>
                <a:latin typeface="Arial"/>
              </a:rPr>
              <a:t>long-term</a:t>
            </a:r>
            <a:r>
              <a:rPr lang="en-US" sz="1600" dirty="0">
                <a:solidFill>
                  <a:srgbClr val="0064AD">
                    <a:lumMod val="75000"/>
                  </a:srgbClr>
                </a:solidFill>
                <a:latin typeface="Arial"/>
              </a:rPr>
              <a:t> </a:t>
            </a:r>
            <a:r>
              <a:rPr lang="en-US" sz="1600" b="1" dirty="0">
                <a:solidFill>
                  <a:srgbClr val="0064AD">
                    <a:lumMod val="75000"/>
                  </a:srgbClr>
                </a:solidFill>
                <a:latin typeface="Arial"/>
              </a:rPr>
              <a:t>strategic </a:t>
            </a:r>
            <a:r>
              <a:rPr lang="en-US" sz="1600" b="1" dirty="0" smtClean="0">
                <a:solidFill>
                  <a:srgbClr val="0064AD">
                    <a:lumMod val="75000"/>
                  </a:srgbClr>
                </a:solidFill>
                <a:latin typeface="Arial"/>
              </a:rPr>
              <a:t>direction</a:t>
            </a:r>
            <a:endParaRPr lang="en-US" sz="1600" dirty="0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  <a:p>
            <a:pPr marL="285750" indent="-285750"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64AD">
                    <a:lumMod val="75000"/>
                  </a:srgbClr>
                </a:solidFill>
                <a:latin typeface="Arial"/>
              </a:rPr>
              <a:t>Champion</a:t>
            </a:r>
            <a:r>
              <a:rPr lang="en-US" sz="1600" b="1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 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the effort </a:t>
            </a:r>
            <a:r>
              <a:rPr lang="en-US" sz="16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across </a:t>
            </a:r>
            <a:r>
              <a:rPr lang="en-US" sz="16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the community</a:t>
            </a:r>
            <a:endParaRPr lang="en-US" sz="1600" dirty="0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  <a:p>
            <a:pPr marL="285750" indent="-285750"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Help 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to establish the </a:t>
            </a:r>
            <a:r>
              <a:rPr lang="en-US" sz="1600" b="1" dirty="0">
                <a:solidFill>
                  <a:srgbClr val="0064AD">
                    <a:lumMod val="75000"/>
                  </a:srgbClr>
                </a:solidFill>
                <a:latin typeface="Arial"/>
              </a:rPr>
              <a:t>vision</a:t>
            </a:r>
            <a:r>
              <a:rPr lang="en-US" sz="1600" dirty="0">
                <a:solidFill>
                  <a:srgbClr val="0064AD">
                    <a:lumMod val="75000"/>
                  </a:srgbClr>
                </a:solidFill>
                <a:latin typeface="Arial"/>
              </a:rPr>
              <a:t> 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and </a:t>
            </a:r>
            <a:r>
              <a:rPr lang="en-US" sz="1600" b="1" dirty="0">
                <a:solidFill>
                  <a:srgbClr val="0064AD">
                    <a:lumMod val="75000"/>
                  </a:srgbClr>
                </a:solidFill>
                <a:latin typeface="Arial"/>
              </a:rPr>
              <a:t>goals </a:t>
            </a:r>
          </a:p>
          <a:p>
            <a:pPr marL="285750" indent="-285750"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64AD">
                    <a:lumMod val="75000"/>
                  </a:srgbClr>
                </a:solidFill>
                <a:latin typeface="Arial"/>
              </a:rPr>
              <a:t>Align</a:t>
            </a:r>
            <a:r>
              <a:rPr lang="en-US" sz="1600" dirty="0" smtClean="0">
                <a:solidFill>
                  <a:srgbClr val="0064AD">
                    <a:lumMod val="75000"/>
                  </a:srgbClr>
                </a:solidFill>
                <a:latin typeface="Arial"/>
              </a:rPr>
              <a:t> </a:t>
            </a:r>
            <a:r>
              <a:rPr lang="en-US" sz="16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partners’ actions to the collaborative goals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, indicators, and strategies</a:t>
            </a:r>
          </a:p>
          <a:p>
            <a:pPr marL="285750" indent="-285750"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Share and promote effective 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use of </a:t>
            </a:r>
            <a:r>
              <a:rPr lang="en-US" sz="1600" b="1" dirty="0">
                <a:solidFill>
                  <a:srgbClr val="0064AD">
                    <a:lumMod val="75000"/>
                  </a:srgbClr>
                </a:solidFill>
                <a:latin typeface="Arial"/>
              </a:rPr>
              <a:t>data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 for </a:t>
            </a:r>
            <a:r>
              <a:rPr lang="en-US" sz="1600" b="1" dirty="0" smtClean="0">
                <a:solidFill>
                  <a:srgbClr val="0064AD">
                    <a:lumMod val="75000"/>
                  </a:srgbClr>
                </a:solidFill>
                <a:latin typeface="Arial"/>
              </a:rPr>
              <a:t>strategy development and learning</a:t>
            </a:r>
            <a:endParaRPr lang="en-US" sz="1600" dirty="0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33842" y="1295400"/>
            <a:ext cx="4297680" cy="2872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spcAft>
                <a:spcPts val="600"/>
              </a:spcAft>
            </a:pPr>
            <a:r>
              <a:rPr lang="en-US" b="1" dirty="0" smtClean="0">
                <a:solidFill>
                  <a:srgbClr val="0064AD">
                    <a:lumMod val="75000"/>
                  </a:srgbClr>
                </a:solidFill>
                <a:latin typeface="Arial"/>
              </a:rPr>
              <a:t>Oversight</a:t>
            </a:r>
          </a:p>
          <a:p>
            <a:pPr marL="0" lvl="1" algn="ctr">
              <a:spcAft>
                <a:spcPts val="600"/>
              </a:spcAft>
            </a:pPr>
            <a:endParaRPr lang="en-US" b="1" dirty="0">
              <a:solidFill>
                <a:srgbClr val="0064AD">
                  <a:lumMod val="75000"/>
                </a:srgbClr>
              </a:solidFill>
              <a:latin typeface="Arial"/>
            </a:endParaRPr>
          </a:p>
          <a:p>
            <a:pPr marL="285750" indent="-2857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Determine staff 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and resource needs to ensure </a:t>
            </a:r>
            <a:r>
              <a:rPr lang="en-US" sz="1600" b="1" dirty="0">
                <a:solidFill>
                  <a:srgbClr val="0064AD">
                    <a:lumMod val="75000"/>
                  </a:srgbClr>
                </a:solidFill>
                <a:latin typeface="Arial"/>
              </a:rPr>
              <a:t>sustainability</a:t>
            </a:r>
          </a:p>
          <a:p>
            <a:pPr marL="285750" indent="-2857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64AD">
                    <a:lumMod val="75000"/>
                  </a:srgbClr>
                </a:solidFill>
                <a:latin typeface="Arial"/>
              </a:rPr>
              <a:t>Monitor </a:t>
            </a:r>
            <a:r>
              <a:rPr lang="en-US" sz="1600" b="1" dirty="0">
                <a:solidFill>
                  <a:srgbClr val="0064AD">
                    <a:lumMod val="75000"/>
                  </a:srgbClr>
                </a:solidFill>
                <a:latin typeface="Arial"/>
              </a:rPr>
              <a:t>progress</a:t>
            </a:r>
            <a:r>
              <a:rPr lang="en-US" sz="1600" dirty="0">
                <a:solidFill>
                  <a:srgbClr val="0064AD">
                    <a:lumMod val="75000"/>
                  </a:srgbClr>
                </a:solidFill>
                <a:latin typeface="Arial"/>
              </a:rPr>
              <a:t> 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against common agenda goals and indicators to ensure </a:t>
            </a:r>
            <a:r>
              <a:rPr lang="en-US" sz="16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ongoing advancement 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and </a:t>
            </a:r>
            <a:r>
              <a:rPr lang="en-US" sz="16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uncover 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any obstacles</a:t>
            </a:r>
          </a:p>
          <a:p>
            <a:pPr marL="285750" indent="-28575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Provide strategic 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guidance to </a:t>
            </a:r>
            <a:r>
              <a:rPr lang="en-US" sz="1600" b="1" dirty="0">
                <a:solidFill>
                  <a:srgbClr val="0064AD">
                    <a:lumMod val="75000"/>
                  </a:srgbClr>
                </a:solidFill>
                <a:latin typeface="Arial"/>
              </a:rPr>
              <a:t>working groups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’ efforts</a:t>
            </a:r>
          </a:p>
        </p:txBody>
      </p:sp>
      <p:sp>
        <p:nvSpPr>
          <p:cNvPr id="7" name="Rectangle 6"/>
          <p:cNvSpPr/>
          <p:nvPr/>
        </p:nvSpPr>
        <p:spPr>
          <a:xfrm>
            <a:off x="486627" y="4495800"/>
            <a:ext cx="8170746" cy="1600200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005AAA"/>
            </a:solidFill>
            <a:prstDash val="dash"/>
          </a:ln>
          <a:effectLst/>
        </p:spPr>
        <p:txBody>
          <a:bodyPr rtlCol="0" anchor="ctr"/>
          <a:lstStyle/>
          <a:p>
            <a:pPr marL="228600"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600" kern="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This requires a </a:t>
            </a:r>
            <a:r>
              <a:rPr lang="en-US" sz="1600" b="1" kern="0" dirty="0" smtClean="0">
                <a:solidFill>
                  <a:srgbClr val="0064AD">
                    <a:lumMod val="75000"/>
                  </a:srgbClr>
                </a:solidFill>
                <a:latin typeface="Arial"/>
              </a:rPr>
              <a:t>commitment </a:t>
            </a:r>
            <a:r>
              <a:rPr lang="en-US" sz="1600" kern="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of 2-4 hours </a:t>
            </a:r>
            <a:r>
              <a:rPr lang="en-US" sz="1600" kern="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per month </a:t>
            </a:r>
            <a:r>
              <a:rPr lang="en-US" sz="1600" kern="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for the duration of this effort to:</a:t>
            </a:r>
          </a:p>
          <a:p>
            <a:pPr marL="688975" lvl="2" indent="-231775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kern="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Attend all meetings </a:t>
            </a:r>
            <a:endParaRPr lang="en-US" sz="1600" kern="0" dirty="0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  <a:p>
            <a:pPr marL="688975" lvl="2" indent="-231775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kern="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Complete </a:t>
            </a:r>
            <a:r>
              <a:rPr lang="en-US" sz="1600" kern="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pre-reading and follow-up assignments </a:t>
            </a:r>
          </a:p>
          <a:p>
            <a:pPr marL="688975" lvl="2" indent="-231775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kern="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Represent and champion this effort in the community</a:t>
            </a:r>
          </a:p>
        </p:txBody>
      </p:sp>
      <p:sp>
        <p:nvSpPr>
          <p:cNvPr id="8" name="Oval 7"/>
          <p:cNvSpPr/>
          <p:nvPr/>
        </p:nvSpPr>
        <p:spPr>
          <a:xfrm>
            <a:off x="1065186" y="1361896"/>
            <a:ext cx="228600" cy="228600"/>
          </a:xfrm>
          <a:prstGeom prst="ellipse">
            <a:avLst/>
          </a:prstGeom>
          <a:solidFill>
            <a:srgbClr val="0064AD">
              <a:lumMod val="75000"/>
            </a:srgbClr>
          </a:solidFill>
          <a:ln w="25400" cap="flat" cmpd="sng" algn="ctr">
            <a:solidFill>
              <a:srgbClr val="0064AD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400" b="1" kern="0" dirty="0" smtClean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9" name="Oval 8"/>
          <p:cNvSpPr/>
          <p:nvPr/>
        </p:nvSpPr>
        <p:spPr>
          <a:xfrm>
            <a:off x="5925840" y="1361896"/>
            <a:ext cx="228600" cy="228600"/>
          </a:xfrm>
          <a:prstGeom prst="ellipse">
            <a:avLst/>
          </a:prstGeom>
          <a:solidFill>
            <a:srgbClr val="0064AD">
              <a:lumMod val="75000"/>
            </a:srgbClr>
          </a:solidFill>
          <a:ln w="25400" cap="flat" cmpd="sng" algn="ctr">
            <a:solidFill>
              <a:srgbClr val="0064AD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400" b="1" kern="0" dirty="0" smtClean="0">
                <a:solidFill>
                  <a:srgbClr val="FFFFFF"/>
                </a:solidFill>
                <a:latin typeface="Arial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71719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9404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467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teering committee provides </a:t>
            </a:r>
            <a:r>
              <a:rPr lang="en-US" dirty="0" smtClean="0"/>
              <a:t>guidance </a:t>
            </a:r>
            <a:r>
              <a:rPr lang="en-US" dirty="0" smtClean="0"/>
              <a:t>to ensure strategic evolution of a collective impact effor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251520" y="6300028"/>
            <a:ext cx="8412480" cy="369332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en-US" sz="1800" b="1" i="1" dirty="0" smtClean="0">
                <a:solidFill>
                  <a:srgbClr val="595959"/>
                </a:solidFill>
              </a:rPr>
              <a:t>The Steering Committee is supported by backbone staff as needed</a:t>
            </a:r>
            <a:endParaRPr lang="en-US" sz="1800" b="1" i="1" dirty="0">
              <a:solidFill>
                <a:srgbClr val="595959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266760" y="1796752"/>
            <a:ext cx="8534400" cy="2819400"/>
          </a:xfrm>
          <a:prstGeom prst="roundRect">
            <a:avLst/>
          </a:prstGeom>
          <a:solidFill>
            <a:srgbClr val="BCE3FF">
              <a:alpha val="69804"/>
            </a:srgbClr>
          </a:solidFill>
          <a:ln w="76200" cap="flat" cmpd="sng" algn="ctr">
            <a:noFill/>
            <a:prstDash val="solid"/>
          </a:ln>
          <a:effectLst/>
        </p:spPr>
        <p:txBody>
          <a:bodyPr lIns="45720" tIns="0" rIns="45720" rtlCol="0" anchor="t" anchorCtr="0"/>
          <a:lstStyle/>
          <a:p>
            <a:pPr algn="ctr" fontAlgn="auto">
              <a:spcBef>
                <a:spcPts val="0"/>
              </a:spcBef>
              <a:spcAft>
                <a:spcPts val="200"/>
              </a:spcAft>
            </a:pPr>
            <a:r>
              <a:rPr lang="en-US" sz="1400" b="1" i="1" kern="0" dirty="0">
                <a:solidFill>
                  <a:srgbClr val="595959"/>
                </a:solidFill>
                <a:latin typeface="Arial"/>
              </a:rPr>
              <a:t>Key Responsibilities:</a:t>
            </a:r>
          </a:p>
          <a:p>
            <a:pPr marL="225425" lvl="1" indent="-225425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Providing long term strategic direction to 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the initiative</a:t>
            </a:r>
            <a:endParaRPr lang="en-US" sz="1200" kern="0" dirty="0">
              <a:solidFill>
                <a:srgbClr val="595959"/>
              </a:solidFill>
              <a:latin typeface="Arial" pitchFamily="34" charset="0"/>
            </a:endParaRPr>
          </a:p>
          <a:p>
            <a:pPr marL="225425" lvl="1" indent="-225425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Overseeing the work of the Project Director and Project 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Coordinator of the backbone support, </a:t>
            </a: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in coordination with the 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Executive Team</a:t>
            </a:r>
            <a:endParaRPr lang="en-US" sz="1200" kern="0" dirty="0">
              <a:solidFill>
                <a:srgbClr val="595959"/>
              </a:solidFill>
              <a:latin typeface="Arial" pitchFamily="34" charset="0"/>
            </a:endParaRPr>
          </a:p>
          <a:p>
            <a:pPr marL="225425" lvl="1" indent="-225425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Determining staff and resource needs to ensure sustainability, in coordination with the 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Executive Team, </a:t>
            </a: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Monitoring progress 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against </a:t>
            </a: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common agenda goals and indicators to ensure continued advancement and to uncover any obstacles</a:t>
            </a:r>
          </a:p>
          <a:p>
            <a:pPr marL="225425" lvl="1" indent="-225425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Reviewing data and using it to inform changes in stakeholder engagement, workgroup composition, or strategies </a:t>
            </a:r>
          </a:p>
          <a:p>
            <a:pPr marL="225425" lvl="1" indent="-225425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Providing guidance to </a:t>
            </a:r>
            <a:r>
              <a:rPr lang="en-US" sz="1200" kern="0" dirty="0" err="1">
                <a:solidFill>
                  <a:srgbClr val="595959"/>
                </a:solidFill>
                <a:latin typeface="Arial" pitchFamily="34" charset="0"/>
              </a:rPr>
              <a:t>workgroups’</a:t>
            </a: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 efforts</a:t>
            </a:r>
          </a:p>
          <a:p>
            <a:pPr marL="225425" lvl="1" indent="-225425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Championing the effort broadly in the 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community</a:t>
            </a:r>
            <a:endParaRPr lang="en-US" sz="1200" kern="0" dirty="0">
              <a:solidFill>
                <a:srgbClr val="595959"/>
              </a:solidFill>
              <a:latin typeface="Arial" pitchFamily="34" charset="0"/>
            </a:endParaRPr>
          </a:p>
          <a:p>
            <a:pPr marL="628650" lvl="1" indent="-171450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en-US" sz="1200" kern="0" dirty="0" smtClean="0">
              <a:solidFill>
                <a:srgbClr val="595959"/>
              </a:solidFill>
              <a:latin typeface="Arial" pitchFamily="34" charset="0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266760" y="1187153"/>
            <a:ext cx="8534400" cy="533399"/>
          </a:xfrm>
          <a:prstGeom prst="roundRect">
            <a:avLst/>
          </a:prstGeom>
          <a:solidFill>
            <a:srgbClr val="BCE3FF">
              <a:alpha val="40000"/>
            </a:srgbClr>
          </a:solidFill>
          <a:ln w="76200" cap="flat" cmpd="sng" algn="ctr">
            <a:noFill/>
            <a:prstDash val="solid"/>
          </a:ln>
          <a:effectLst/>
        </p:spPr>
        <p:txBody>
          <a:bodyPr lIns="45720" tIns="45720" rIns="45720" rtlCol="0" anchor="ctr" anchorCtr="0"/>
          <a:lstStyle/>
          <a:p>
            <a:pPr algn="ctr" fontAlgn="auto">
              <a:spcBef>
                <a:spcPts val="0"/>
              </a:spcBef>
              <a:spcAft>
                <a:spcPts val="200"/>
              </a:spcAft>
            </a:pPr>
            <a:r>
              <a:rPr lang="en-US" sz="1400" b="1" i="1" kern="0" dirty="0">
                <a:solidFill>
                  <a:srgbClr val="595959"/>
                </a:solidFill>
                <a:latin typeface="Arial"/>
              </a:rPr>
              <a:t>Purpose: </a:t>
            </a:r>
          </a:p>
          <a:p>
            <a:pPr algn="ctr" fontAlgn="auto">
              <a:spcBef>
                <a:spcPts val="0"/>
              </a:spcBef>
              <a:spcAft>
                <a:spcPts val="200"/>
              </a:spcAft>
            </a:pPr>
            <a:r>
              <a:rPr lang="en-US" sz="1400" i="1" kern="0" dirty="0">
                <a:solidFill>
                  <a:srgbClr val="595959"/>
                </a:solidFill>
                <a:latin typeface="Arial"/>
              </a:rPr>
              <a:t>Provide oversight and overall strategic decision-making for initiativ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304860" y="4692352"/>
            <a:ext cx="8458200" cy="1535668"/>
          </a:xfrm>
          <a:prstGeom prst="roundRect">
            <a:avLst/>
          </a:prstGeom>
          <a:solidFill>
            <a:srgbClr val="BCE3FF"/>
          </a:solidFill>
          <a:ln w="76200" cap="flat" cmpd="sng" algn="ctr">
            <a:noFill/>
            <a:prstDash val="solid"/>
          </a:ln>
          <a:effectLst/>
        </p:spPr>
        <p:txBody>
          <a:bodyPr lIns="45720" tIns="45720" rIns="45720" rtlCol="0" anchor="ctr" anchorCtr="0"/>
          <a:lstStyle/>
          <a:p>
            <a:pPr algn="ctr" fontAlgn="auto">
              <a:spcBef>
                <a:spcPts val="0"/>
              </a:spcBef>
              <a:spcAft>
                <a:spcPts val="200"/>
              </a:spcAft>
            </a:pPr>
            <a:endParaRPr lang="en-US" sz="1400" b="1" i="1" kern="0" dirty="0" smtClean="0">
              <a:solidFill>
                <a:srgbClr val="595959"/>
              </a:solidFill>
              <a:latin typeface="Arial"/>
            </a:endParaRPr>
          </a:p>
          <a:p>
            <a:pPr algn="ctr" fontAlgn="auto">
              <a:spcBef>
                <a:spcPts val="0"/>
              </a:spcBef>
              <a:spcAft>
                <a:spcPts val="200"/>
              </a:spcAft>
            </a:pPr>
            <a:r>
              <a:rPr lang="en-US" sz="1400" b="1" i="1" kern="0" dirty="0" smtClean="0">
                <a:solidFill>
                  <a:srgbClr val="595959"/>
                </a:solidFill>
                <a:latin typeface="Arial"/>
              </a:rPr>
              <a:t>Best Practices of Steering Committee Organizations:</a:t>
            </a:r>
          </a:p>
          <a:p>
            <a:pPr marL="225425" lvl="1" indent="-225425" fontAlgn="auto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Ø"/>
            </a:pPr>
            <a:r>
              <a:rPr lang="en-US" sz="1200" b="1" kern="0" dirty="0" smtClean="0">
                <a:solidFill>
                  <a:srgbClr val="595959"/>
                </a:solidFill>
                <a:latin typeface="Arial" pitchFamily="34" charset="0"/>
              </a:rPr>
              <a:t>Have two </a:t>
            </a:r>
            <a:r>
              <a:rPr lang="en-US" sz="1200" b="1" kern="0" dirty="0">
                <a:solidFill>
                  <a:srgbClr val="595959"/>
                </a:solidFill>
                <a:latin typeface="Arial" pitchFamily="34" charset="0"/>
              </a:rPr>
              <a:t>co-chairs</a:t>
            </a: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, each from a different 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agency/organization</a:t>
            </a:r>
          </a:p>
          <a:p>
            <a:pPr marL="225425" lvl="1" indent="-225425" fontAlgn="auto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Ø"/>
            </a:pP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Meet a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t least quarterly, </a:t>
            </a: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perhaps 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monthly at first</a:t>
            </a:r>
          </a:p>
          <a:p>
            <a:pPr marL="225425" lvl="1" indent="-225425" fontAlgn="auto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Ø"/>
            </a:pP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Have diverse, cross-</a:t>
            </a:r>
            <a:r>
              <a:rPr lang="en-US" sz="1200" kern="0" dirty="0" err="1" smtClean="0">
                <a:solidFill>
                  <a:srgbClr val="595959"/>
                </a:solidFill>
                <a:latin typeface="Arial" pitchFamily="34" charset="0"/>
              </a:rPr>
              <a:t>sectoral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 membership drawn and rotational leadership </a:t>
            </a:r>
            <a:endParaRPr lang="en-US" sz="1200" kern="0" dirty="0">
              <a:solidFill>
                <a:srgbClr val="595959"/>
              </a:solidFill>
              <a:latin typeface="Arial" pitchFamily="34" charset="0"/>
            </a:endParaRPr>
          </a:p>
          <a:p>
            <a:pPr marL="225425" lvl="1" indent="-225425" fontAlgn="auto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Ø"/>
            </a:pP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Coordinate activity with 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workgroups and other coalitions via </a:t>
            </a: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the backbone 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leadership and workgroup chairs </a:t>
            </a:r>
          </a:p>
          <a:p>
            <a:pPr marL="225425" lvl="1" indent="-225425" fontAlgn="auto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Ø"/>
            </a:pP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Communicate regularly within the Steering Committee based on agreed upon schedule and methods</a:t>
            </a:r>
          </a:p>
          <a:p>
            <a:pPr marL="225425" lvl="1" indent="-225425" fontAlgn="auto">
              <a:spcBef>
                <a:spcPts val="0"/>
              </a:spcBef>
              <a:spcAft>
                <a:spcPts val="200"/>
              </a:spcAft>
              <a:buFont typeface="Wingdings" pitchFamily="2" charset="2"/>
              <a:buChar char="Ø"/>
            </a:pPr>
            <a:r>
              <a:rPr lang="en-US" sz="1200" kern="0" dirty="0">
                <a:solidFill>
                  <a:srgbClr val="595959"/>
                </a:solidFill>
                <a:latin typeface="Arial" pitchFamily="34" charset="0"/>
              </a:rPr>
              <a:t>Report processes, findings, and concerns </a:t>
            </a:r>
            <a:r>
              <a:rPr lang="en-US" sz="1200" kern="0" dirty="0" smtClean="0">
                <a:solidFill>
                  <a:srgbClr val="595959"/>
                </a:solidFill>
                <a:latin typeface="Arial" pitchFamily="34" charset="0"/>
              </a:rPr>
              <a:t>to stakeholders</a:t>
            </a:r>
            <a:endParaRPr lang="en-US" sz="1200" kern="0" dirty="0">
              <a:solidFill>
                <a:srgbClr val="595959"/>
              </a:solidFill>
              <a:latin typeface="Arial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en-US" sz="1200" kern="0" dirty="0">
              <a:solidFill>
                <a:srgbClr val="595959"/>
              </a:solidFill>
              <a:latin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3322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2544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8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228600" y="19321"/>
            <a:ext cx="8686800" cy="1005840"/>
          </a:xfrm>
        </p:spPr>
        <p:txBody>
          <a:bodyPr/>
          <a:lstStyle/>
          <a:p>
            <a:r>
              <a:rPr lang="en-US" dirty="0"/>
              <a:t>Steering committee members should be </a:t>
            </a:r>
            <a:r>
              <a:rPr lang="en-US" dirty="0">
                <a:solidFill>
                  <a:schemeClr val="tx2"/>
                </a:solidFill>
              </a:rPr>
              <a:t>carefully recruited;</a:t>
            </a:r>
            <a:r>
              <a:rPr lang="en-US" dirty="0"/>
              <a:t> the following traits are important</a:t>
            </a:r>
            <a:endParaRPr lang="en-US" dirty="0" smtClean="0"/>
          </a:p>
        </p:txBody>
      </p:sp>
      <p:sp>
        <p:nvSpPr>
          <p:cNvPr id="11" name="Shape 321"/>
          <p:cNvSpPr txBox="1">
            <a:spLocks/>
          </p:cNvSpPr>
          <p:nvPr/>
        </p:nvSpPr>
        <p:spPr>
          <a:xfrm>
            <a:off x="304800" y="1697038"/>
            <a:ext cx="5181600" cy="477996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>
            <a:lvl1pPr marL="3429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74295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>
                  <a:lumMod val="65000"/>
                  <a:lumOff val="35000"/>
                </a:srgbClr>
              </a:buClr>
              <a:buSzPct val="100000"/>
              <a:buFont typeface="Arial"/>
              <a:buNone/>
              <a:defRPr/>
            </a:pPr>
            <a:r>
              <a:rPr lang="x-none" sz="1400" b="1" smtClean="0">
                <a:solidFill>
                  <a:srgbClr val="FA9600">
                    <a:lumMod val="75000"/>
                  </a:srgbClr>
                </a:solidFill>
              </a:rPr>
              <a:t>Decision </a:t>
            </a:r>
            <a:r>
              <a:rPr lang="en-US" sz="1400" b="1" smtClean="0">
                <a:solidFill>
                  <a:srgbClr val="FA9600">
                    <a:lumMod val="75000"/>
                  </a:srgbClr>
                </a:solidFill>
              </a:rPr>
              <a:t>m</a:t>
            </a:r>
            <a:r>
              <a:rPr lang="x-none" sz="1400" b="1" smtClean="0">
                <a:solidFill>
                  <a:srgbClr val="FA9600">
                    <a:lumMod val="75000"/>
                  </a:srgbClr>
                </a:solidFill>
              </a:rPr>
              <a:t>aker</a:t>
            </a: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/>
            </a:r>
            <a:b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</a:b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C-level / president a</a:t>
            </a:r>
            <a:r>
              <a:rPr lang="x-none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ble to drive </a:t>
            </a: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relevant </a:t>
            </a:r>
            <a:r>
              <a:rPr lang="x-none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systems change</a:t>
            </a:r>
          </a:p>
          <a:p>
            <a:pPr marL="0" indent="0" fontAlgn="auto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>
                  <a:lumMod val="65000"/>
                  <a:lumOff val="35000"/>
                </a:srgbClr>
              </a:buClr>
              <a:buSzPct val="100000"/>
              <a:buFont typeface="Arial"/>
              <a:buNone/>
              <a:defRPr/>
            </a:pP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Representative</a:t>
            </a: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/>
            </a:r>
            <a:b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</a:br>
            <a:r>
              <a:rPr lang="x-none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>Geographic coverage of effort as well as sector</a:t>
            </a: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>s</a:t>
            </a:r>
            <a:r>
              <a:rPr lang="x-none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> </a:t>
            </a:r>
          </a:p>
          <a:p>
            <a:pPr marL="0" indent="0" fontAlgn="auto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>
                  <a:lumMod val="65000"/>
                  <a:lumOff val="35000"/>
                </a:srgbClr>
              </a:buClr>
              <a:buSzPct val="100000"/>
              <a:buFont typeface="Arial"/>
              <a:buNone/>
              <a:defRPr/>
            </a:pP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Influential </a:t>
            </a:r>
            <a:r>
              <a:rPr lang="en-US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c</a:t>
            </a: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hampion</a:t>
            </a: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/>
            </a:r>
            <a:b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</a:br>
            <a:r>
              <a:rPr lang="x-none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>Commands respect of stakeholders</a:t>
            </a:r>
            <a:endParaRPr lang="en-US" sz="1400" smtClean="0">
              <a:solidFill>
                <a:srgbClr val="000000">
                  <a:lumMod val="65000"/>
                  <a:lumOff val="35000"/>
                </a:srgbClr>
              </a:solidFill>
              <a:sym typeface="Arial"/>
            </a:endParaRPr>
          </a:p>
          <a:p>
            <a:pPr marL="0" indent="0" fontAlgn="auto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>
                  <a:lumMod val="65000"/>
                  <a:lumOff val="35000"/>
                </a:srgbClr>
              </a:buClr>
              <a:buSzPct val="100000"/>
              <a:buFont typeface="Arial"/>
              <a:buNone/>
              <a:defRPr/>
            </a:pP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Content </a:t>
            </a:r>
            <a:r>
              <a:rPr lang="en-US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e</a:t>
            </a: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xpertise</a:t>
            </a:r>
            <a:r>
              <a:rPr lang="en-US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 </a:t>
            </a: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/</a:t>
            </a:r>
            <a:r>
              <a:rPr lang="en-US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 p</a:t>
            </a: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ractitioner</a:t>
            </a: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/>
            </a:r>
            <a:b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</a:br>
            <a:r>
              <a:rPr lang="x-none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>Familiar with subject matter to contribute substantively </a:t>
            </a:r>
          </a:p>
          <a:p>
            <a:pPr marL="0" indent="0" fontAlgn="auto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>
                  <a:lumMod val="65000"/>
                  <a:lumOff val="35000"/>
                </a:srgbClr>
              </a:buClr>
              <a:buSzPct val="100000"/>
              <a:buFont typeface="Arial"/>
              <a:buNone/>
              <a:defRPr/>
            </a:pP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Passion and </a:t>
            </a:r>
            <a:r>
              <a:rPr lang="en-US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u</a:t>
            </a: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rgency</a:t>
            </a: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/>
            </a:r>
            <a:b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</a:br>
            <a:r>
              <a:rPr lang="x-none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>Passionate about issue and urgency for the need to change</a:t>
            </a:r>
          </a:p>
          <a:p>
            <a:pPr marL="0" indent="0" fontAlgn="auto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>
                  <a:lumMod val="65000"/>
                  <a:lumOff val="35000"/>
                </a:srgbClr>
              </a:buClr>
              <a:buSzPct val="100000"/>
              <a:buFont typeface="Arial"/>
              <a:buNone/>
              <a:defRPr/>
            </a:pP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Focused on the </a:t>
            </a:r>
            <a:r>
              <a:rPr lang="en-US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g</a:t>
            </a: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reater </a:t>
            </a:r>
            <a:r>
              <a:rPr lang="en-US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i</a:t>
            </a: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nterest</a:t>
            </a: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/>
            </a:r>
            <a:b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</a:b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>A</a:t>
            </a:r>
            <a:r>
              <a:rPr lang="x-none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>ble to think and act in the greater interest of the community </a:t>
            </a:r>
          </a:p>
          <a:p>
            <a:pPr marL="0" indent="0" fontAlgn="auto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>
                  <a:lumMod val="65000"/>
                  <a:lumOff val="35000"/>
                </a:srgbClr>
              </a:buClr>
              <a:buSzPct val="100000"/>
              <a:buFont typeface="Arial"/>
              <a:buNone/>
              <a:defRPr/>
            </a:pPr>
            <a:r>
              <a:rPr lang="x-none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Commitment</a:t>
            </a: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/>
            </a:r>
            <a:b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</a:b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>A</a:t>
            </a:r>
            <a:r>
              <a:rPr lang="x-none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>ble to commit time and energy to meetings and </a:t>
            </a: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>the work</a:t>
            </a:r>
          </a:p>
          <a:p>
            <a:pPr marL="0" indent="0" fontAlgn="auto">
              <a:lnSpc>
                <a:spcPct val="115000"/>
              </a:lnSpc>
              <a:spcBef>
                <a:spcPts val="800"/>
              </a:spcBef>
              <a:spcAft>
                <a:spcPts val="0"/>
              </a:spcAft>
              <a:buClr>
                <a:srgbClr val="000000">
                  <a:lumMod val="65000"/>
                  <a:lumOff val="35000"/>
                </a:srgbClr>
              </a:buClr>
              <a:buSzPct val="100000"/>
              <a:buFont typeface="Arial"/>
              <a:buNone/>
              <a:defRPr/>
            </a:pPr>
            <a:r>
              <a:rPr lang="en-US" sz="1400" b="1" smtClean="0">
                <a:solidFill>
                  <a:srgbClr val="FA9600">
                    <a:lumMod val="75000"/>
                  </a:srgbClr>
                </a:solidFill>
                <a:sym typeface="Arial"/>
              </a:rPr>
              <a:t>Lived experience</a:t>
            </a: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/>
            </a:r>
            <a:b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</a:b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sym typeface="Arial"/>
              </a:rPr>
              <a:t>Brings experience with or affected by the issue</a:t>
            </a:r>
            <a:endParaRPr lang="x-none" sz="1400" dirty="0">
              <a:solidFill>
                <a:srgbClr val="000000">
                  <a:lumMod val="65000"/>
                  <a:lumOff val="35000"/>
                </a:srgbClr>
              </a:solidFill>
              <a:sym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04800" y="1219200"/>
            <a:ext cx="5181600" cy="411957"/>
          </a:xfrm>
          <a:prstGeom prst="rect">
            <a:avLst/>
          </a:prstGeom>
          <a:solidFill>
            <a:srgbClr val="FAA755">
              <a:lumMod val="50000"/>
            </a:srgbClr>
          </a:solidFill>
          <a:ln w="25400" cap="flat" cmpd="sng" algn="ctr">
            <a:solidFill>
              <a:srgbClr val="FAA755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Arial"/>
              </a:rPr>
              <a:t>Attract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867400" y="1219200"/>
            <a:ext cx="2971800" cy="411957"/>
          </a:xfrm>
          <a:prstGeom prst="rect">
            <a:avLst/>
          </a:prstGeom>
          <a:solidFill>
            <a:srgbClr val="FF0000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Arial"/>
              </a:rPr>
              <a:t>Avoid</a:t>
            </a:r>
          </a:p>
        </p:txBody>
      </p:sp>
      <p:sp>
        <p:nvSpPr>
          <p:cNvPr id="14" name="Shape 321"/>
          <p:cNvSpPr txBox="1">
            <a:spLocks/>
          </p:cNvSpPr>
          <p:nvPr/>
        </p:nvSpPr>
        <p:spPr>
          <a:xfrm>
            <a:off x="5867400" y="1697038"/>
            <a:ext cx="2971800" cy="477996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>
            <a:lvl1pPr marL="3429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74295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1638" indent="-401638" fontAlgn="auto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rgbClr val="FF0000"/>
              </a:buClr>
              <a:buSzPct val="200000"/>
              <a:buFont typeface="Arial" pitchFamily="34" charset="0"/>
              <a:buChar char="ₓ"/>
              <a:defRPr/>
            </a:pP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Too much agreement / only the usual suspects</a:t>
            </a:r>
          </a:p>
          <a:p>
            <a:pPr marL="401638" indent="-401638" fontAlgn="auto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rgbClr val="FF0000"/>
              </a:buClr>
              <a:buSzPct val="200000"/>
              <a:buFont typeface="Arial" pitchFamily="34" charset="0"/>
              <a:buChar char="ₓ"/>
              <a:defRPr/>
            </a:pP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Too much disagreement / pre-programmed hostility</a:t>
            </a:r>
          </a:p>
          <a:p>
            <a:pPr marL="401638" indent="-401638" fontAlgn="auto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rgbClr val="FF0000"/>
              </a:buClr>
              <a:buSzPct val="200000"/>
              <a:buFont typeface="Arial" pitchFamily="34" charset="0"/>
              <a:buChar char="ₓ"/>
              <a:defRPr/>
            </a:pP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People who are not able to “tune” (i.e. listen to others)</a:t>
            </a:r>
          </a:p>
          <a:p>
            <a:pPr marL="401638" indent="-401638" fontAlgn="auto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rgbClr val="FF0000"/>
              </a:buClr>
              <a:buSzPct val="200000"/>
              <a:buFont typeface="Arial" pitchFamily="34" charset="0"/>
              <a:buChar char="ₓ"/>
              <a:defRPr/>
            </a:pP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People who can’t leave their egos at the door</a:t>
            </a:r>
          </a:p>
          <a:p>
            <a:pPr marL="401638" indent="-401638" fontAlgn="auto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rgbClr val="FF0000"/>
              </a:buClr>
              <a:buSzPct val="200000"/>
              <a:buFont typeface="Arial" pitchFamily="34" charset="0"/>
              <a:buChar char="ₓ"/>
              <a:defRPr/>
            </a:pP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People who polarize</a:t>
            </a:r>
          </a:p>
          <a:p>
            <a:pPr marL="401638" indent="-401638" fontAlgn="auto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rgbClr val="FF0000"/>
              </a:buClr>
              <a:buSzPct val="200000"/>
              <a:buFont typeface="Arial" pitchFamily="34" charset="0"/>
              <a:buChar char="ₓ"/>
              <a:defRPr/>
            </a:pP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People who only come to the table because they think there will be funding</a:t>
            </a:r>
          </a:p>
          <a:p>
            <a:pPr marL="401638" indent="-401638" fontAlgn="auto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rgbClr val="FF0000"/>
              </a:buClr>
              <a:buSzPct val="200000"/>
              <a:buFont typeface="Arial" pitchFamily="34" charset="0"/>
              <a:buChar char="ₓ"/>
              <a:defRPr/>
            </a:pP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People who are too busy to put in the time and effort</a:t>
            </a:r>
          </a:p>
          <a:p>
            <a:pPr marL="401638" indent="-401638" fontAlgn="auto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>
                <a:srgbClr val="FF0000"/>
              </a:buClr>
              <a:buSzPct val="200000"/>
              <a:buFont typeface="Arial" pitchFamily="34" charset="0"/>
              <a:buChar char="ₓ"/>
              <a:defRPr/>
            </a:pPr>
            <a:endParaRPr lang="en-US" sz="14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21685" y="6614546"/>
            <a:ext cx="6672195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 dirty="0" smtClean="0">
                <a:solidFill>
                  <a:prstClr val="white">
                    <a:lumMod val="50000"/>
                  </a:prstClr>
                </a:solidFill>
                <a:latin typeface="Arial"/>
              </a:rPr>
              <a:t>Source: FSG Interviews and Analysis</a:t>
            </a:r>
          </a:p>
        </p:txBody>
      </p:sp>
    </p:spTree>
    <p:extLst>
      <p:ext uri="{BB962C8B-B14F-4D97-AF65-F5344CB8AC3E}">
        <p14:creationId xmlns:p14="http://schemas.microsoft.com/office/powerpoint/2010/main" val="463211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animBg="1"/>
      <p:bldP spid="13" grpId="0" animBg="1"/>
      <p:bldP spid="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5002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228600" y="19321"/>
            <a:ext cx="8686800" cy="1005840"/>
          </a:xfrm>
        </p:spPr>
        <p:txBody>
          <a:bodyPr/>
          <a:lstStyle/>
          <a:p>
            <a:r>
              <a:rPr lang="en-US" dirty="0"/>
              <a:t>Steering committee </a:t>
            </a:r>
            <a:r>
              <a:rPr lang="en-US" dirty="0">
                <a:solidFill>
                  <a:schemeClr val="tx2"/>
                </a:solidFill>
              </a:rPr>
              <a:t>lessons learned</a:t>
            </a:r>
            <a:endParaRPr lang="en-US" dirty="0" smtClean="0">
              <a:solidFill>
                <a:schemeClr val="tx2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528206" y="1371600"/>
            <a:ext cx="8051914" cy="822960"/>
            <a:chOff x="528206" y="1295400"/>
            <a:chExt cx="8051914" cy="822960"/>
          </a:xfrm>
        </p:grpSpPr>
        <p:pic>
          <p:nvPicPr>
            <p:cNvPr id="21" name="Picture 2" descr="C:\Users\adeeb\AppData\Local\Microsoft\Windows\Temporary Internet Files\Content.IE5\C9ABJUYR\MC900230642[1].wmf"/>
            <p:cNvPicPr>
              <a:picLocks noChangeAspect="1" noChangeArrowheads="1"/>
            </p:cNvPicPr>
            <p:nvPr/>
          </p:nvPicPr>
          <p:blipFill>
            <a:blip r:embed="rId8" cstate="screen">
              <a:duotone>
                <a:srgbClr val="FA96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206" y="1516380"/>
              <a:ext cx="782880" cy="381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ext Placeholder 6"/>
            <p:cNvSpPr txBox="1">
              <a:spLocks/>
            </p:cNvSpPr>
            <p:nvPr/>
          </p:nvSpPr>
          <p:spPr>
            <a:xfrm>
              <a:off x="1447800" y="1295400"/>
              <a:ext cx="7132320" cy="822960"/>
            </a:xfrm>
            <a:prstGeom prst="rect">
              <a:avLst/>
            </a:prstGeom>
          </p:spPr>
          <p:txBody>
            <a:bodyPr anchor="ctr"/>
            <a:lstStyle>
              <a:lvl1pPr marL="225425" indent="-22542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688975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Aft>
                  <a:spcPts val="400"/>
                </a:spcAft>
                <a:buFont typeface="Arial" charset="0"/>
                <a:buNone/>
                <a:defRPr/>
              </a:pPr>
              <a:r>
                <a:rPr lang="en-US" sz="1600" b="1" dirty="0" smtClean="0">
                  <a:solidFill>
                    <a:srgbClr val="FAA755">
                      <a:lumMod val="75000"/>
                    </a:srgbClr>
                  </a:solidFill>
                </a:rPr>
                <a:t>Relationships &gt; output: </a:t>
              </a:r>
              <a:r>
                <a:rPr lang="en-US" sz="1500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In the long run, the relationships the Committee forms and the habits they build of working together are even more important than the initial strategies/indicators that they select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45326" y="2423160"/>
            <a:ext cx="7934794" cy="822960"/>
            <a:chOff x="645326" y="2349321"/>
            <a:chExt cx="7934794" cy="822960"/>
          </a:xfrm>
        </p:grpSpPr>
        <p:sp>
          <p:nvSpPr>
            <p:cNvPr id="24" name="Text Placeholder 6"/>
            <p:cNvSpPr txBox="1">
              <a:spLocks/>
            </p:cNvSpPr>
            <p:nvPr/>
          </p:nvSpPr>
          <p:spPr>
            <a:xfrm>
              <a:off x="1447800" y="2349321"/>
              <a:ext cx="7132320" cy="822960"/>
            </a:xfrm>
            <a:prstGeom prst="rect">
              <a:avLst/>
            </a:prstGeom>
          </p:spPr>
          <p:txBody>
            <a:bodyPr anchor="ctr"/>
            <a:lstStyle>
              <a:lvl1pPr marL="225425" indent="-22542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688975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Aft>
                  <a:spcPts val="400"/>
                </a:spcAft>
                <a:buFont typeface="Arial" charset="0"/>
                <a:buNone/>
                <a:defRPr/>
              </a:pPr>
              <a:r>
                <a:rPr lang="en-US" sz="1600" b="1" dirty="0" smtClean="0">
                  <a:solidFill>
                    <a:srgbClr val="FAA755">
                      <a:lumMod val="75000"/>
                    </a:srgbClr>
                  </a:solidFill>
                </a:rPr>
                <a:t>This takes time:</a:t>
              </a:r>
              <a:r>
                <a:rPr lang="en-US" sz="1600" dirty="0" smtClean="0">
                  <a:solidFill>
                    <a:srgbClr val="000000"/>
                  </a:solidFill>
                </a:rPr>
                <a:t> </a:t>
              </a:r>
              <a:r>
                <a:rPr lang="en-US" sz="1500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Past groups have spent anywhere from 5 – 18 months to agree on strategies and metrics, depending on internal dynamics and the extent to which the groups receive external support</a:t>
              </a:r>
            </a:p>
          </p:txBody>
        </p:sp>
        <p:pic>
          <p:nvPicPr>
            <p:cNvPr id="25" name="Picture 2" descr="C:\Program Files\Microsoft Office\MEDIA\CAGCAT10\j0234131.wmf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326" y="2469097"/>
              <a:ext cx="548640" cy="5834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 9"/>
          <p:cNvGrpSpPr/>
          <p:nvPr/>
        </p:nvGrpSpPr>
        <p:grpSpPr>
          <a:xfrm>
            <a:off x="592771" y="3474720"/>
            <a:ext cx="7987349" cy="822960"/>
            <a:chOff x="592771" y="4419600"/>
            <a:chExt cx="7987349" cy="822960"/>
          </a:xfrm>
        </p:grpSpPr>
        <p:pic>
          <p:nvPicPr>
            <p:cNvPr id="27" name="Picture 10" descr="C:\Users\adeeb\AppData\Local\Microsoft\Windows\Temporary Internet Files\Content.IE5\YW4N3MYM\MC900355663[1].wmf"/>
            <p:cNvPicPr>
              <a:picLocks noChangeAspect="1" noChangeArrowheads="1"/>
            </p:cNvPicPr>
            <p:nvPr/>
          </p:nvPicPr>
          <p:blipFill>
            <a:blip r:embed="rId10" cstate="screen">
              <a:duotone>
                <a:srgbClr val="FA96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771" y="4564380"/>
              <a:ext cx="653751" cy="533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 Placeholder 6"/>
            <p:cNvSpPr txBox="1">
              <a:spLocks/>
            </p:cNvSpPr>
            <p:nvPr/>
          </p:nvSpPr>
          <p:spPr>
            <a:xfrm>
              <a:off x="1447800" y="4419600"/>
              <a:ext cx="7132320" cy="822960"/>
            </a:xfrm>
            <a:prstGeom prst="rect">
              <a:avLst/>
            </a:prstGeom>
          </p:spPr>
          <p:txBody>
            <a:bodyPr anchor="ctr"/>
            <a:lstStyle>
              <a:lvl1pPr marL="225425" indent="-22542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688975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Aft>
                  <a:spcPts val="400"/>
                </a:spcAft>
                <a:buFont typeface="Arial" charset="0"/>
                <a:buNone/>
                <a:defRPr/>
              </a:pPr>
              <a:r>
                <a:rPr lang="en-US" sz="1600" b="1" dirty="0" smtClean="0">
                  <a:solidFill>
                    <a:srgbClr val="FAA755">
                      <a:lumMod val="75000"/>
                    </a:srgbClr>
                  </a:solidFill>
                </a:rPr>
                <a:t>Speed vs. inclusion: </a:t>
              </a:r>
              <a:r>
                <a:rPr lang="en-US" sz="1500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Both for the Steering Committee and Working Groups, multiple, large groups with many members can be tempting. However, most CI efforts find a need to balance broad participation with the ability to make nimble decisions and get stuff done</a:t>
              </a:r>
            </a:p>
          </p:txBody>
        </p:sp>
      </p:grpSp>
      <p:grpSp>
        <p:nvGrpSpPr>
          <p:cNvPr id="29" name="Group 11"/>
          <p:cNvGrpSpPr/>
          <p:nvPr/>
        </p:nvGrpSpPr>
        <p:grpSpPr>
          <a:xfrm>
            <a:off x="656281" y="4526280"/>
            <a:ext cx="7923839" cy="822960"/>
            <a:chOff x="656281" y="5355314"/>
            <a:chExt cx="7923839" cy="822960"/>
          </a:xfrm>
        </p:grpSpPr>
        <p:sp>
          <p:nvSpPr>
            <p:cNvPr id="30" name="Text Placeholder 6"/>
            <p:cNvSpPr txBox="1">
              <a:spLocks/>
            </p:cNvSpPr>
            <p:nvPr/>
          </p:nvSpPr>
          <p:spPr>
            <a:xfrm>
              <a:off x="1447800" y="5355314"/>
              <a:ext cx="7132320" cy="822960"/>
            </a:xfrm>
            <a:prstGeom prst="rect">
              <a:avLst/>
            </a:prstGeom>
          </p:spPr>
          <p:txBody>
            <a:bodyPr anchor="ctr"/>
            <a:lstStyle>
              <a:lvl1pPr marL="225425" indent="-22542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688975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Aft>
                  <a:spcPts val="400"/>
                </a:spcAft>
                <a:buFont typeface="Arial" charset="0"/>
                <a:buNone/>
                <a:defRPr/>
              </a:pPr>
              <a:r>
                <a:rPr lang="en-US" sz="1600" b="1" dirty="0" smtClean="0">
                  <a:solidFill>
                    <a:srgbClr val="FAA755">
                      <a:lumMod val="75000"/>
                    </a:srgbClr>
                  </a:solidFill>
                </a:rPr>
                <a:t>Facilitation matters: </a:t>
              </a:r>
              <a:r>
                <a:rPr lang="en-US" sz="1500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While some Steering Committees and Working Groups have evolved organically, these groups generally achieve their goals more quickly when outside staff support the Groups with facilitation and materials development</a:t>
              </a:r>
              <a:endParaRPr lang="en-US" sz="15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pic>
          <p:nvPicPr>
            <p:cNvPr id="31" name="Picture 4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colorTemperature colorTemp="11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281" y="5523381"/>
              <a:ext cx="526730" cy="4868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2" name="Group 28"/>
          <p:cNvGrpSpPr/>
          <p:nvPr/>
        </p:nvGrpSpPr>
        <p:grpSpPr>
          <a:xfrm>
            <a:off x="541795" y="5577840"/>
            <a:ext cx="8038325" cy="822960"/>
            <a:chOff x="541795" y="3399060"/>
            <a:chExt cx="8038325" cy="822960"/>
          </a:xfrm>
        </p:grpSpPr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1795" y="3526203"/>
              <a:ext cx="755703" cy="568675"/>
            </a:xfrm>
            <a:prstGeom prst="rect">
              <a:avLst/>
            </a:prstGeom>
          </p:spPr>
        </p:pic>
        <p:sp>
          <p:nvSpPr>
            <p:cNvPr id="34" name="Text Placeholder 6"/>
            <p:cNvSpPr txBox="1">
              <a:spLocks/>
            </p:cNvSpPr>
            <p:nvPr/>
          </p:nvSpPr>
          <p:spPr>
            <a:xfrm>
              <a:off x="1447800" y="3399060"/>
              <a:ext cx="7132320" cy="822960"/>
            </a:xfrm>
            <a:prstGeom prst="rect">
              <a:avLst/>
            </a:prstGeom>
          </p:spPr>
          <p:txBody>
            <a:bodyPr anchor="ctr"/>
            <a:lstStyle>
              <a:lvl1pPr marL="225425" indent="-22542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688975" indent="-23177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Aft>
                  <a:spcPts val="400"/>
                </a:spcAft>
                <a:buFont typeface="Arial" charset="0"/>
                <a:buNone/>
                <a:defRPr/>
              </a:pPr>
              <a:r>
                <a:rPr lang="en-US" sz="1600" b="1" dirty="0" smtClean="0">
                  <a:solidFill>
                    <a:srgbClr val="FAA755">
                      <a:lumMod val="75000"/>
                    </a:srgbClr>
                  </a:solidFill>
                </a:rPr>
                <a:t>Groups are fluid: </a:t>
              </a:r>
              <a:r>
                <a:rPr lang="en-US" sz="1500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Steering Committees typically evolve in their composition, and members may be added/subtracted over time; what’s important is their ability to adapt to new needs and refine their approaches as required</a:t>
              </a:r>
              <a:endParaRPr lang="en-US" sz="15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-21685" y="6614546"/>
            <a:ext cx="6672195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 dirty="0" smtClean="0">
                <a:solidFill>
                  <a:prstClr val="white">
                    <a:lumMod val="50000"/>
                  </a:prstClr>
                </a:solidFill>
                <a:latin typeface="Arial"/>
              </a:rPr>
              <a:t>Source: FSG Interviews and Analysis</a:t>
            </a:r>
          </a:p>
        </p:txBody>
      </p:sp>
    </p:spTree>
    <p:extLst>
      <p:ext uri="{BB962C8B-B14F-4D97-AF65-F5344CB8AC3E}">
        <p14:creationId xmlns:p14="http://schemas.microsoft.com/office/powerpoint/2010/main" val="2143244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50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tential steps for recruiting a steering committe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ource: FSG Interviews and </a:t>
            </a:r>
            <a:r>
              <a:rPr lang="en-US" dirty="0" smtClean="0"/>
              <a:t>Analysis</a:t>
            </a:r>
            <a:endParaRPr lang="en-US" dirty="0"/>
          </a:p>
        </p:txBody>
      </p:sp>
      <p:sp>
        <p:nvSpPr>
          <p:cNvPr id="9" name="Folded Corner 8"/>
          <p:cNvSpPr/>
          <p:nvPr/>
        </p:nvSpPr>
        <p:spPr>
          <a:xfrm>
            <a:off x="381000" y="1371600"/>
            <a:ext cx="8382000" cy="4267200"/>
          </a:xfrm>
          <a:prstGeom prst="foldedCorner">
            <a:avLst>
              <a:gd name="adj" fmla="val 13116"/>
            </a:avLst>
          </a:prstGeom>
          <a:noFill/>
          <a:ln w="25400" cap="flat" cmpd="sng" algn="ctr">
            <a:solidFill>
              <a:srgbClr val="0064AD">
                <a:lumMod val="75000"/>
              </a:srgbClr>
            </a:solidFill>
            <a:prstDash val="solid"/>
          </a:ln>
          <a:effectLst/>
        </p:spPr>
        <p:txBody>
          <a:bodyPr lIns="274320" tIns="274320" rIns="365760" bIns="274320" rtlCol="0" anchor="t" anchorCtr="1"/>
          <a:lstStyle/>
          <a:p>
            <a:pPr marL="411163" lvl="1" indent="-342900" fontAlgn="auto"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q"/>
            </a:pPr>
            <a:r>
              <a:rPr lang="en-US" sz="1600" b="1" kern="0" dirty="0" smtClean="0">
                <a:solidFill>
                  <a:srgbClr val="595959"/>
                </a:solidFill>
                <a:latin typeface="Arial"/>
              </a:rPr>
              <a:t>Develop </a:t>
            </a:r>
            <a:r>
              <a:rPr lang="en-US" sz="1600" b="1" kern="0" dirty="0">
                <a:solidFill>
                  <a:srgbClr val="595959"/>
                </a:solidFill>
                <a:latin typeface="Arial"/>
              </a:rPr>
              <a:t>a set of criteria </a:t>
            </a:r>
            <a:r>
              <a:rPr lang="en-US" sz="1600" kern="0" dirty="0">
                <a:solidFill>
                  <a:srgbClr val="595959"/>
                </a:solidFill>
                <a:latin typeface="Arial"/>
              </a:rPr>
              <a:t>to inform the development of the project Steering </a:t>
            </a:r>
            <a:r>
              <a:rPr lang="en-US" sz="1600" kern="0" dirty="0" smtClean="0">
                <a:solidFill>
                  <a:srgbClr val="595959"/>
                </a:solidFill>
                <a:latin typeface="Arial"/>
              </a:rPr>
              <a:t>Committee</a:t>
            </a:r>
          </a:p>
          <a:p>
            <a:pPr marL="411163" lvl="1" indent="-342900" fontAlgn="auto"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q"/>
            </a:pPr>
            <a:r>
              <a:rPr lang="en-US" sz="1600" b="1" kern="0" dirty="0" smtClean="0">
                <a:solidFill>
                  <a:srgbClr val="595959"/>
                </a:solidFill>
                <a:latin typeface="Arial"/>
              </a:rPr>
              <a:t>Identify </a:t>
            </a:r>
            <a:r>
              <a:rPr lang="en-US" sz="1600" b="1" kern="0" dirty="0">
                <a:solidFill>
                  <a:srgbClr val="595959"/>
                </a:solidFill>
                <a:latin typeface="Arial"/>
              </a:rPr>
              <a:t>Steering Committee members </a:t>
            </a:r>
            <a:r>
              <a:rPr lang="en-US" sz="1600" kern="0" dirty="0">
                <a:solidFill>
                  <a:srgbClr val="595959"/>
                </a:solidFill>
                <a:latin typeface="Arial"/>
              </a:rPr>
              <a:t>based on the established criteria, engaging both traditional and non-traditional partners (e.g., public health, social services, health services, business media, education, labor, urban planning, housing, faith-based, and youth-serving organizations) </a:t>
            </a:r>
            <a:endParaRPr lang="en-US" sz="1600" kern="0" dirty="0" smtClean="0">
              <a:solidFill>
                <a:srgbClr val="595959"/>
              </a:solidFill>
              <a:latin typeface="Arial"/>
            </a:endParaRPr>
          </a:p>
          <a:p>
            <a:pPr marL="411163" lvl="1" indent="-342900" fontAlgn="auto"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q"/>
            </a:pPr>
            <a:r>
              <a:rPr lang="en-US" sz="1600" b="1" kern="0" dirty="0" smtClean="0">
                <a:solidFill>
                  <a:srgbClr val="595959"/>
                </a:solidFill>
                <a:latin typeface="Arial"/>
              </a:rPr>
              <a:t>Define </a:t>
            </a:r>
            <a:r>
              <a:rPr lang="en-US" sz="1600" b="1" kern="0" dirty="0">
                <a:solidFill>
                  <a:srgbClr val="595959"/>
                </a:solidFill>
                <a:latin typeface="Arial"/>
              </a:rPr>
              <a:t>the roles of Steering Committee members</a:t>
            </a:r>
            <a:r>
              <a:rPr lang="en-US" sz="1600" kern="0" dirty="0">
                <a:solidFill>
                  <a:srgbClr val="595959"/>
                </a:solidFill>
                <a:latin typeface="Arial"/>
              </a:rPr>
              <a:t>, to be vetted with Steering Committee </a:t>
            </a:r>
            <a:r>
              <a:rPr lang="en-US" sz="1600" kern="0" dirty="0" smtClean="0">
                <a:solidFill>
                  <a:srgbClr val="595959"/>
                </a:solidFill>
                <a:latin typeface="Arial"/>
              </a:rPr>
              <a:t>input</a:t>
            </a:r>
          </a:p>
          <a:p>
            <a:pPr marL="411163" lvl="1" indent="-342900" fontAlgn="auto"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q"/>
            </a:pPr>
            <a:r>
              <a:rPr lang="en-US" sz="1600" b="1" kern="0" dirty="0" smtClean="0">
                <a:solidFill>
                  <a:srgbClr val="595959"/>
                </a:solidFill>
                <a:latin typeface="Arial"/>
              </a:rPr>
              <a:t>Conduct </a:t>
            </a:r>
            <a:r>
              <a:rPr lang="en-US" sz="1600" b="1" kern="0" dirty="0">
                <a:solidFill>
                  <a:srgbClr val="595959"/>
                </a:solidFill>
                <a:latin typeface="Arial"/>
              </a:rPr>
              <a:t>individual interviews with Steering Committee members </a:t>
            </a:r>
            <a:r>
              <a:rPr lang="en-US" sz="1600" kern="0" dirty="0">
                <a:solidFill>
                  <a:srgbClr val="595959"/>
                </a:solidFill>
                <a:latin typeface="Arial"/>
              </a:rPr>
              <a:t>to understand existing efforts, key players, success factors, and obstacles.  During these conversations, </a:t>
            </a:r>
            <a:r>
              <a:rPr lang="en-US" sz="1600" kern="0" dirty="0" smtClean="0">
                <a:solidFill>
                  <a:srgbClr val="595959"/>
                </a:solidFill>
                <a:latin typeface="Arial"/>
              </a:rPr>
              <a:t>explore </a:t>
            </a:r>
            <a:r>
              <a:rPr lang="en-US" sz="1600" kern="0" dirty="0">
                <a:solidFill>
                  <a:srgbClr val="595959"/>
                </a:solidFill>
                <a:latin typeface="Arial"/>
              </a:rPr>
              <a:t>Steering Committee members’ motivations and goals for adopting a collective impact approach, and ask whom else they suggest engaging as members of the Steering </a:t>
            </a:r>
            <a:r>
              <a:rPr lang="en-US" sz="1600" kern="0" dirty="0" smtClean="0">
                <a:solidFill>
                  <a:srgbClr val="595959"/>
                </a:solidFill>
                <a:latin typeface="Arial"/>
              </a:rPr>
              <a:t>Committee</a:t>
            </a:r>
          </a:p>
        </p:txBody>
      </p:sp>
    </p:spTree>
    <p:extLst>
      <p:ext uri="{BB962C8B-B14F-4D97-AF65-F5344CB8AC3E}">
        <p14:creationId xmlns:p14="http://schemas.microsoft.com/office/powerpoint/2010/main" val="207303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PMMHfhQZyrV78K5Q9Tf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6c826e8c-c4c5-457e-b84b-4865ad1dc2c5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GLzs7xRAi35_XLYxelE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pdpJi6uUOjsL27BffX9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6FAE86rDkqBjP4HpTLXM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IDCpqXlEW6kLXb5n_Y3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Jp.k2m20iRn6q6C9euh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UIsJ2wUkSifvymgTuxC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UNOYi5_kytCJTLYXx36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Jp2kuChUKipk4ntcjAS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JTT5BcYU23lVRabUmXf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CHayvoDkqlV_F7pqpA2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ebuSBnPEq8A1ri_IZjS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yyDNx4TBagHeU35mQRh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2982c664-21e0-4f11-a15a-67e9aa093f0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8sKISOQ6yaSoPpBouWT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VojhdtQnGjwenMuK0mPw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fwKeJzT.WB.AZSF0A6r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005AAA"/>
      </a:dk2>
      <a:lt2>
        <a:srgbClr val="EEECE1"/>
      </a:lt2>
      <a:accent1>
        <a:srgbClr val="0094B3"/>
      </a:accent1>
      <a:accent2>
        <a:srgbClr val="A70240"/>
      </a:accent2>
      <a:accent3>
        <a:srgbClr val="6A7F10"/>
      </a:accent3>
      <a:accent4>
        <a:srgbClr val="4F4C25"/>
      </a:accent4>
      <a:accent5>
        <a:srgbClr val="F26422"/>
      </a:accent5>
      <a:accent6>
        <a:srgbClr val="9A9B9C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95959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005AAA"/>
      </a:dk2>
      <a:lt2>
        <a:srgbClr val="EEECE1"/>
      </a:lt2>
      <a:accent1>
        <a:srgbClr val="0094B3"/>
      </a:accent1>
      <a:accent2>
        <a:srgbClr val="A70240"/>
      </a:accent2>
      <a:accent3>
        <a:srgbClr val="6A7F10"/>
      </a:accent3>
      <a:accent4>
        <a:srgbClr val="4F4C25"/>
      </a:accent4>
      <a:accent5>
        <a:srgbClr val="F26422"/>
      </a:accent5>
      <a:accent6>
        <a:srgbClr val="9A9B9C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95959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7252</TotalTime>
  <Words>859</Words>
  <Application>Microsoft Office PowerPoint</Application>
  <PresentationFormat>On-screen Show (4:3)</PresentationFormat>
  <Paragraphs>116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0" baseType="lpstr">
      <vt:lpstr>2_Office Theme</vt:lpstr>
      <vt:lpstr>1_Office Theme</vt:lpstr>
      <vt:lpstr>think-cell Slide</vt:lpstr>
      <vt:lpstr>Steering Committee Roles</vt:lpstr>
      <vt:lpstr>Collective impact engages multiple stakeholders and draws on a range of community assets</vt:lpstr>
      <vt:lpstr>Steering Committee members help provide strategic oversight for a collective impact initiative</vt:lpstr>
      <vt:lpstr>The steering committee provides guidance to ensure strategic evolution of a collective impact effort</vt:lpstr>
      <vt:lpstr>Steering committee members should be carefully recruited; the following traits are important</vt:lpstr>
      <vt:lpstr>Steering committee lessons learned</vt:lpstr>
      <vt:lpstr>Potential steps for recruiting a steering committe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moting Philanthropic Leadership</dc:title>
  <dc:creator>Valerie Bockstette</dc:creator>
  <cp:lastModifiedBy>Robert Albright</cp:lastModifiedBy>
  <cp:revision>998</cp:revision>
  <cp:lastPrinted>2014-09-03T19:52:15Z</cp:lastPrinted>
  <dcterms:created xsi:type="dcterms:W3CDTF">2014-01-31T04:23:01Z</dcterms:created>
  <dcterms:modified xsi:type="dcterms:W3CDTF">2018-10-31T14:52:59Z</dcterms:modified>
</cp:coreProperties>
</file>